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ags/tag1.xml" ContentType="application/vnd.openxmlformats-officedocument.presentationml.tags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theme/theme4.xml" ContentType="application/vnd.openxmlformats-officedocument.theme+xml"/>
  <Override PartName="/ppt/tags/tag5.xml" ContentType="application/vnd.openxmlformats-officedocument.presentationml.tags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theme/theme5.xml" ContentType="application/vnd.openxmlformats-officedocument.theme+xml"/>
  <Override PartName="/ppt/tags/tag6.xml" ContentType="application/vnd.openxmlformats-officedocument.presentationml.tags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theme/theme6.xml" ContentType="application/vnd.openxmlformats-officedocument.theme+xml"/>
  <Override PartName="/ppt/tags/tag7.xml" ContentType="application/vnd.openxmlformats-officedocument.presentationml.tags+xml"/>
  <Override PartName="/ppt/theme/theme7.xml" ContentType="application/vnd.openxmlformats-officedocument.theme+xml"/>
  <Override PartName="/ppt/theme/theme8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723" r:id="rId2"/>
    <p:sldMasterId id="2147483740" r:id="rId3"/>
    <p:sldMasterId id="2147483867" r:id="rId4"/>
    <p:sldMasterId id="2147483875" r:id="rId5"/>
    <p:sldMasterId id="2147483966" r:id="rId6"/>
  </p:sldMasterIdLst>
  <p:notesMasterIdLst>
    <p:notesMasterId r:id="rId26"/>
  </p:notesMasterIdLst>
  <p:handoutMasterIdLst>
    <p:handoutMasterId r:id="rId27"/>
  </p:handoutMasterIdLst>
  <p:sldIdLst>
    <p:sldId id="639" r:id="rId7"/>
    <p:sldId id="584" r:id="rId8"/>
    <p:sldId id="6917" r:id="rId9"/>
    <p:sldId id="6932" r:id="rId10"/>
    <p:sldId id="6928" r:id="rId11"/>
    <p:sldId id="6933" r:id="rId12"/>
    <p:sldId id="1172" r:id="rId13"/>
    <p:sldId id="1168" r:id="rId14"/>
    <p:sldId id="1171" r:id="rId15"/>
    <p:sldId id="6934" r:id="rId16"/>
    <p:sldId id="6929" r:id="rId17"/>
    <p:sldId id="6930" r:id="rId18"/>
    <p:sldId id="6931" r:id="rId19"/>
    <p:sldId id="6925" r:id="rId20"/>
    <p:sldId id="1216" r:id="rId21"/>
    <p:sldId id="612" r:id="rId22"/>
    <p:sldId id="1215" r:id="rId23"/>
    <p:sldId id="1212" r:id="rId24"/>
    <p:sldId id="6920" r:id="rId25"/>
  </p:sldIdLst>
  <p:sldSz cx="9144000" cy="5143500" type="screen16x9"/>
  <p:notesSz cx="6858000" cy="9144000"/>
  <p:defaultTextStyle>
    <a:defPPr>
      <a:defRPr lang="en-US"/>
    </a:defPPr>
    <a:lvl1pPr marL="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C0000"/>
    <a:srgbClr val="6F7779"/>
    <a:srgbClr val="DEEDF2"/>
    <a:srgbClr val="000000"/>
    <a:srgbClr val="C6C6C6"/>
    <a:srgbClr val="EC1C24"/>
    <a:srgbClr val="FF3F3F"/>
    <a:srgbClr val="E6E6E6"/>
    <a:srgbClr val="EDF2F4"/>
    <a:srgbClr val="8D99A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1765" autoAdjust="0"/>
    <p:restoredTop sz="94291" autoAdjust="0"/>
  </p:normalViewPr>
  <p:slideViewPr>
    <p:cSldViewPr snapToGrid="0" showGuides="1">
      <p:cViewPr varScale="1">
        <p:scale>
          <a:sx n="85" d="100"/>
          <a:sy n="85" d="100"/>
        </p:scale>
        <p:origin x="1038" y="90"/>
      </p:cViewPr>
      <p:guideLst/>
    </p:cSldViewPr>
  </p:slideViewPr>
  <p:outlineViewPr>
    <p:cViewPr>
      <p:scale>
        <a:sx n="33" d="100"/>
        <a:sy n="33" d="100"/>
      </p:scale>
      <p:origin x="0" y="-3768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828"/>
    </p:cViewPr>
  </p:sorterViewPr>
  <p:notesViewPr>
    <p:cSldViewPr snapToGrid="0" showGuides="1">
      <p:cViewPr varScale="1">
        <p:scale>
          <a:sx n="81" d="100"/>
          <a:sy n="81" d="100"/>
        </p:scale>
        <p:origin x="1956" y="6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notesMaster" Target="notesMasters/notesMaster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5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presProps" Target="presProps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tableStyles" Target="tableStyle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handoutMaster" Target="handoutMasters/handoutMaster1.xml"/><Relationship Id="rId30" Type="http://schemas.openxmlformats.org/officeDocument/2006/relationships/theme" Target="theme/theme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5_2">
  <dgm:title val=""/>
  <dgm:desc val=""/>
  <dgm:catLst>
    <dgm:cat type="accent5" pri="11200"/>
  </dgm:catLst>
  <dgm:styleLbl name="node0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5"/>
    </dgm:fillClrLst>
    <dgm:linClrLst meth="repeat">
      <a:schemeClr val="accent5"/>
    </dgm:linClrLst>
    <dgm:effectClrLst/>
    <dgm:txLinClrLst/>
    <dgm:txFillClrLst/>
    <dgm:txEffectClrLst/>
  </dgm:styleLbl>
  <dgm:styleLbl name="lnNode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8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97358483-22AE-4011-B5E7-5007D3AA9B9D}" type="doc">
      <dgm:prSet loTypeId="urn:microsoft.com/office/officeart/2008/layout/NameandTitleOrganizationalChart" loCatId="hierarchy" qsTypeId="urn:microsoft.com/office/officeart/2005/8/quickstyle/simple1" qsCatId="simple" csTypeId="urn:microsoft.com/office/officeart/2005/8/colors/accent5_2" csCatId="accent5" phldr="1"/>
      <dgm:spPr/>
      <dgm:t>
        <a:bodyPr/>
        <a:lstStyle/>
        <a:p>
          <a:endParaRPr lang="pt-BR"/>
        </a:p>
      </dgm:t>
    </dgm:pt>
    <dgm:pt modelId="{57C51338-C86D-4FE0-A88B-BDC9855690DB}">
      <dgm:prSet phldrT="[Texto]"/>
      <dgm:spPr/>
      <dgm:t>
        <a:bodyPr/>
        <a:lstStyle/>
        <a:p>
          <a:pPr algn="r"/>
          <a:r>
            <a:rPr lang="pt-BR" dirty="0"/>
            <a:t>Projetos</a:t>
          </a:r>
        </a:p>
      </dgm:t>
    </dgm:pt>
    <dgm:pt modelId="{62C6E6A7-4C6C-406F-8031-DA21FA10F93E}" type="parTrans" cxnId="{8FB4E3C5-8C0F-4FAF-A813-AB43B2287F1C}">
      <dgm:prSet/>
      <dgm:spPr/>
      <dgm:t>
        <a:bodyPr/>
        <a:lstStyle/>
        <a:p>
          <a:endParaRPr lang="pt-BR"/>
        </a:p>
      </dgm:t>
    </dgm:pt>
    <dgm:pt modelId="{9BBF2716-5C8B-4995-BB77-C5E513A2C0BB}" type="sibTrans" cxnId="{8FB4E3C5-8C0F-4FAF-A813-AB43B2287F1C}">
      <dgm:prSet/>
      <dgm:spPr/>
      <dgm:t>
        <a:bodyPr/>
        <a:lstStyle/>
        <a:p>
          <a:r>
            <a:rPr lang="pt-BR" dirty="0"/>
            <a:t>Débora Roesler</a:t>
          </a:r>
        </a:p>
      </dgm:t>
    </dgm:pt>
    <dgm:pt modelId="{6D119F06-76E3-4BA4-8D23-EBDC75953518}">
      <dgm:prSet phldrT="[Texto]" custT="1"/>
      <dgm:spPr/>
      <dgm:t>
        <a:bodyPr/>
        <a:lstStyle/>
        <a:p>
          <a:pPr algn="r"/>
          <a:r>
            <a:rPr lang="pt-BR" sz="2400" dirty="0"/>
            <a:t>Homologação</a:t>
          </a:r>
        </a:p>
      </dgm:t>
    </dgm:pt>
    <dgm:pt modelId="{3F8AA17E-8B87-4744-A3AE-8DFFAC17FB62}" type="parTrans" cxnId="{0FAC0D07-93E7-4069-A1C1-17A0E310D122}">
      <dgm:prSet/>
      <dgm:spPr/>
      <dgm:t>
        <a:bodyPr/>
        <a:lstStyle/>
        <a:p>
          <a:endParaRPr lang="pt-BR"/>
        </a:p>
      </dgm:t>
    </dgm:pt>
    <dgm:pt modelId="{E4520366-BF43-4A97-8A07-087C82FA78F1}" type="sibTrans" cxnId="{0FAC0D07-93E7-4069-A1C1-17A0E310D122}">
      <dgm:prSet/>
      <dgm:spPr/>
      <dgm:t>
        <a:bodyPr/>
        <a:lstStyle/>
        <a:p>
          <a:r>
            <a:rPr lang="pt-BR" dirty="0"/>
            <a:t>Danielle Cauduro	</a:t>
          </a:r>
        </a:p>
      </dgm:t>
    </dgm:pt>
    <dgm:pt modelId="{B82D1D36-2F25-4088-82E8-B1D33C15807D}">
      <dgm:prSet phldrT="[Texto]" custT="1"/>
      <dgm:spPr/>
      <dgm:t>
        <a:bodyPr/>
        <a:lstStyle/>
        <a:p>
          <a:pPr algn="r"/>
          <a:r>
            <a:rPr lang="pt-BR" sz="2400" dirty="0"/>
            <a:t>Projetos</a:t>
          </a:r>
        </a:p>
      </dgm:t>
    </dgm:pt>
    <dgm:pt modelId="{7AAA24E4-BFC6-430A-90E0-0A07BD7D0239}" type="parTrans" cxnId="{53CDA587-D3B5-42AB-A5CF-09B474ADC0C3}">
      <dgm:prSet/>
      <dgm:spPr/>
      <dgm:t>
        <a:bodyPr/>
        <a:lstStyle/>
        <a:p>
          <a:endParaRPr lang="pt-BR"/>
        </a:p>
      </dgm:t>
    </dgm:pt>
    <dgm:pt modelId="{FF09FFF1-A962-4A33-9DC0-549AD4232136}" type="sibTrans" cxnId="{53CDA587-D3B5-42AB-A5CF-09B474ADC0C3}">
      <dgm:prSet/>
      <dgm:spPr/>
      <dgm:t>
        <a:bodyPr/>
        <a:lstStyle/>
        <a:p>
          <a:r>
            <a:rPr lang="pt-BR" dirty="0"/>
            <a:t>Leila Klevanskis</a:t>
          </a:r>
        </a:p>
      </dgm:t>
    </dgm:pt>
    <dgm:pt modelId="{357900BE-8AAF-4D11-9DA1-BCF82D3971FE}">
      <dgm:prSet phldrT="[Texto]" custT="1"/>
      <dgm:spPr/>
      <dgm:t>
        <a:bodyPr/>
        <a:lstStyle/>
        <a:p>
          <a:pPr algn="r"/>
          <a:r>
            <a:rPr lang="pt-BR" sz="2000" dirty="0"/>
            <a:t>Arquitetura Negócios</a:t>
          </a:r>
        </a:p>
      </dgm:t>
    </dgm:pt>
    <dgm:pt modelId="{24E3F8DA-718A-4C2E-B15E-2C8E1F138712}" type="parTrans" cxnId="{0DCC5287-540D-4498-8330-5CD512A10B01}">
      <dgm:prSet/>
      <dgm:spPr/>
      <dgm:t>
        <a:bodyPr/>
        <a:lstStyle/>
        <a:p>
          <a:endParaRPr lang="pt-BR"/>
        </a:p>
      </dgm:t>
    </dgm:pt>
    <dgm:pt modelId="{DEBB7371-C6D3-473F-9D03-DFCCD3711F44}" type="sibTrans" cxnId="{0DCC5287-540D-4498-8330-5CD512A10B01}">
      <dgm:prSet/>
      <dgm:spPr/>
      <dgm:t>
        <a:bodyPr/>
        <a:lstStyle/>
        <a:p>
          <a:r>
            <a:rPr lang="pt-BR" dirty="0"/>
            <a:t>Patricia Dotte</a:t>
          </a:r>
        </a:p>
      </dgm:t>
    </dgm:pt>
    <dgm:pt modelId="{6F0C423E-D826-4863-9D6F-F52B7B81EEE7}">
      <dgm:prSet phldrT="[Texto]" custT="1"/>
      <dgm:spPr/>
      <dgm:t>
        <a:bodyPr/>
        <a:lstStyle/>
        <a:p>
          <a:pPr algn="r"/>
          <a:r>
            <a:rPr lang="pt-BR" sz="2000" dirty="0"/>
            <a:t>RTE</a:t>
          </a:r>
        </a:p>
      </dgm:t>
    </dgm:pt>
    <dgm:pt modelId="{BD4863D1-5CE1-4D43-AC9D-2CAC578DEFCE}" type="parTrans" cxnId="{A7BB8B5E-7087-450C-9235-7FE561961F9F}">
      <dgm:prSet/>
      <dgm:spPr/>
      <dgm:t>
        <a:bodyPr/>
        <a:lstStyle/>
        <a:p>
          <a:endParaRPr lang="pt-BR"/>
        </a:p>
      </dgm:t>
    </dgm:pt>
    <dgm:pt modelId="{05564B32-C913-4C7C-B926-2DA0D46F52C4}" type="sibTrans" cxnId="{A7BB8B5E-7087-450C-9235-7FE561961F9F}">
      <dgm:prSet/>
      <dgm:spPr/>
      <dgm:t>
        <a:bodyPr/>
        <a:lstStyle/>
        <a:p>
          <a:r>
            <a:rPr lang="pt-BR" dirty="0"/>
            <a:t>Magda Godoy</a:t>
          </a:r>
        </a:p>
      </dgm:t>
    </dgm:pt>
    <dgm:pt modelId="{A47E5B15-DFCD-4796-AE6F-509A894FBAA5}">
      <dgm:prSet phldrT="[Texto]" custT="1"/>
      <dgm:spPr/>
      <dgm:t>
        <a:bodyPr/>
        <a:lstStyle/>
        <a:p>
          <a:pPr algn="ctr"/>
          <a:r>
            <a:rPr lang="pt-BR" sz="2400" dirty="0"/>
            <a:t>BI</a:t>
          </a:r>
        </a:p>
      </dgm:t>
    </dgm:pt>
    <dgm:pt modelId="{E8D8757C-B9E8-4077-B13D-7C3E6896ED35}" type="sibTrans" cxnId="{F6F0D23E-CF02-4D18-8A34-B665D1775CED}">
      <dgm:prSet/>
      <dgm:spPr/>
      <dgm:t>
        <a:bodyPr/>
        <a:lstStyle/>
        <a:p>
          <a:r>
            <a:rPr lang="pt-BR" dirty="0"/>
            <a:t>Leonardo Zimmer</a:t>
          </a:r>
        </a:p>
      </dgm:t>
    </dgm:pt>
    <dgm:pt modelId="{E26F8EA2-332D-44FC-A8B5-283867F6C8CA}" type="parTrans" cxnId="{F6F0D23E-CF02-4D18-8A34-B665D1775CED}">
      <dgm:prSet/>
      <dgm:spPr/>
      <dgm:t>
        <a:bodyPr/>
        <a:lstStyle/>
        <a:p>
          <a:endParaRPr lang="pt-BR"/>
        </a:p>
      </dgm:t>
    </dgm:pt>
    <dgm:pt modelId="{2A27C1B3-D750-44D5-8419-A564657171D5}">
      <dgm:prSet phldrT="[Texto]" custT="1"/>
      <dgm:spPr/>
      <dgm:t>
        <a:bodyPr/>
        <a:lstStyle/>
        <a:p>
          <a:pPr algn="r"/>
          <a:r>
            <a:rPr lang="pt-BR" sz="2000" dirty="0"/>
            <a:t>Consultora</a:t>
          </a:r>
        </a:p>
      </dgm:t>
    </dgm:pt>
    <dgm:pt modelId="{F9DDBC71-8762-4D07-BF8C-10D7915AC23D}" type="parTrans" cxnId="{F3C93EFA-A4A5-49E2-ACAE-E227CC6A0EF9}">
      <dgm:prSet/>
      <dgm:spPr/>
      <dgm:t>
        <a:bodyPr/>
        <a:lstStyle/>
        <a:p>
          <a:endParaRPr lang="pt-BR"/>
        </a:p>
      </dgm:t>
    </dgm:pt>
    <dgm:pt modelId="{58DD24A0-F1BD-4283-94AC-9588583E5A8A}" type="sibTrans" cxnId="{F3C93EFA-A4A5-49E2-ACAE-E227CC6A0EF9}">
      <dgm:prSet/>
      <dgm:spPr/>
      <dgm:t>
        <a:bodyPr/>
        <a:lstStyle/>
        <a:p>
          <a:r>
            <a:rPr lang="pt-BR" dirty="0"/>
            <a:t>Carolina Castro</a:t>
          </a:r>
        </a:p>
      </dgm:t>
    </dgm:pt>
    <dgm:pt modelId="{425FEA47-8DDB-4ECA-A41E-C1A3A19B32DD}" type="pres">
      <dgm:prSet presAssocID="{97358483-22AE-4011-B5E7-5007D3AA9B9D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</dgm:pt>
    <dgm:pt modelId="{E2918F03-D44C-4F98-9160-B91BA7DE94E0}" type="pres">
      <dgm:prSet presAssocID="{57C51338-C86D-4FE0-A88B-BDC9855690DB}" presName="hierRoot1" presStyleCnt="0">
        <dgm:presLayoutVars>
          <dgm:hierBranch val="init"/>
        </dgm:presLayoutVars>
      </dgm:prSet>
      <dgm:spPr/>
    </dgm:pt>
    <dgm:pt modelId="{28AAAC64-3110-4A22-AFD1-F5337A61ACB5}" type="pres">
      <dgm:prSet presAssocID="{57C51338-C86D-4FE0-A88B-BDC9855690DB}" presName="rootComposite1" presStyleCnt="0"/>
      <dgm:spPr/>
    </dgm:pt>
    <dgm:pt modelId="{8E9EDB8F-2BB0-4ECA-8EE7-7552860071DE}" type="pres">
      <dgm:prSet presAssocID="{57C51338-C86D-4FE0-A88B-BDC9855690DB}" presName="rootText1" presStyleLbl="node0" presStyleIdx="0" presStyleCnt="1" custScaleX="200874">
        <dgm:presLayoutVars>
          <dgm:chMax/>
          <dgm:chPref val="3"/>
        </dgm:presLayoutVars>
      </dgm:prSet>
      <dgm:spPr/>
    </dgm:pt>
    <dgm:pt modelId="{06510F17-B45C-48A4-9FEB-A8558F1E16F6}" type="pres">
      <dgm:prSet presAssocID="{57C51338-C86D-4FE0-A88B-BDC9855690DB}" presName="titleText1" presStyleLbl="fgAcc0" presStyleIdx="0" presStyleCnt="1" custLinFactNeighborX="62097" custLinFactNeighborY="-1586">
        <dgm:presLayoutVars>
          <dgm:chMax val="0"/>
          <dgm:chPref val="0"/>
        </dgm:presLayoutVars>
      </dgm:prSet>
      <dgm:spPr/>
    </dgm:pt>
    <dgm:pt modelId="{1730C078-35B1-4393-8198-2AC6CD7EC9BC}" type="pres">
      <dgm:prSet presAssocID="{57C51338-C86D-4FE0-A88B-BDC9855690DB}" presName="rootConnector1" presStyleLbl="node1" presStyleIdx="0" presStyleCnt="6"/>
      <dgm:spPr/>
    </dgm:pt>
    <dgm:pt modelId="{C5BA02FF-469D-4FF5-B8C0-0C45DCF26CCA}" type="pres">
      <dgm:prSet presAssocID="{57C51338-C86D-4FE0-A88B-BDC9855690DB}" presName="hierChild2" presStyleCnt="0"/>
      <dgm:spPr/>
    </dgm:pt>
    <dgm:pt modelId="{0D34FA30-60B2-4BB5-9642-96F72D98C841}" type="pres">
      <dgm:prSet presAssocID="{E26F8EA2-332D-44FC-A8B5-283867F6C8CA}" presName="Name37" presStyleLbl="parChTrans1D2" presStyleIdx="0" presStyleCnt="3"/>
      <dgm:spPr/>
    </dgm:pt>
    <dgm:pt modelId="{E8532ECB-BEF0-4B0C-BAD4-327193135F0D}" type="pres">
      <dgm:prSet presAssocID="{A47E5B15-DFCD-4796-AE6F-509A894FBAA5}" presName="hierRoot2" presStyleCnt="0">
        <dgm:presLayoutVars>
          <dgm:hierBranch val="init"/>
        </dgm:presLayoutVars>
      </dgm:prSet>
      <dgm:spPr/>
    </dgm:pt>
    <dgm:pt modelId="{3638C58B-4D41-4442-A641-B944C82EBD4F}" type="pres">
      <dgm:prSet presAssocID="{A47E5B15-DFCD-4796-AE6F-509A894FBAA5}" presName="rootComposite" presStyleCnt="0"/>
      <dgm:spPr/>
    </dgm:pt>
    <dgm:pt modelId="{145C744D-790D-4F4B-B1E8-FD4DD6B5B13E}" type="pres">
      <dgm:prSet presAssocID="{A47E5B15-DFCD-4796-AE6F-509A894FBAA5}" presName="rootText" presStyleLbl="node1" presStyleIdx="0" presStyleCnt="6" custScaleX="147047" custLinFactNeighborX="-57784">
        <dgm:presLayoutVars>
          <dgm:chMax/>
          <dgm:chPref val="3"/>
        </dgm:presLayoutVars>
      </dgm:prSet>
      <dgm:spPr/>
    </dgm:pt>
    <dgm:pt modelId="{13A5C22E-8377-49CC-A146-E3C9CA6EF264}" type="pres">
      <dgm:prSet presAssocID="{A47E5B15-DFCD-4796-AE6F-509A894FBAA5}" presName="titleText2" presStyleLbl="fgAcc1" presStyleIdx="0" presStyleCnt="6" custLinFactNeighborX="-9785" custLinFactNeighborY="19501">
        <dgm:presLayoutVars>
          <dgm:chMax val="0"/>
          <dgm:chPref val="0"/>
        </dgm:presLayoutVars>
      </dgm:prSet>
      <dgm:spPr/>
    </dgm:pt>
    <dgm:pt modelId="{CBB2FC6A-8F31-423C-8B8F-0604FB6AC664}" type="pres">
      <dgm:prSet presAssocID="{A47E5B15-DFCD-4796-AE6F-509A894FBAA5}" presName="rootConnector" presStyleLbl="node2" presStyleIdx="0" presStyleCnt="0"/>
      <dgm:spPr/>
    </dgm:pt>
    <dgm:pt modelId="{74908E35-99D3-4D2D-9D4A-4755071990D4}" type="pres">
      <dgm:prSet presAssocID="{A47E5B15-DFCD-4796-AE6F-509A894FBAA5}" presName="hierChild4" presStyleCnt="0"/>
      <dgm:spPr/>
    </dgm:pt>
    <dgm:pt modelId="{39FE30EA-A3A1-4E67-A01D-F278A7063DBD}" type="pres">
      <dgm:prSet presAssocID="{A47E5B15-DFCD-4796-AE6F-509A894FBAA5}" presName="hierChild5" presStyleCnt="0"/>
      <dgm:spPr/>
    </dgm:pt>
    <dgm:pt modelId="{04A52945-8F3B-4930-A296-846B850218D4}" type="pres">
      <dgm:prSet presAssocID="{3F8AA17E-8B87-4744-A3AE-8DFFAC17FB62}" presName="Name37" presStyleLbl="parChTrans1D2" presStyleIdx="1" presStyleCnt="3"/>
      <dgm:spPr/>
    </dgm:pt>
    <dgm:pt modelId="{672E9720-7A1E-42F0-AC64-F8A4C2841DF7}" type="pres">
      <dgm:prSet presAssocID="{6D119F06-76E3-4BA4-8D23-EBDC75953518}" presName="hierRoot2" presStyleCnt="0">
        <dgm:presLayoutVars>
          <dgm:hierBranch val="init"/>
        </dgm:presLayoutVars>
      </dgm:prSet>
      <dgm:spPr/>
    </dgm:pt>
    <dgm:pt modelId="{79E42A5B-6FB0-42E3-B29F-2BB3F6FE37D2}" type="pres">
      <dgm:prSet presAssocID="{6D119F06-76E3-4BA4-8D23-EBDC75953518}" presName="rootComposite" presStyleCnt="0"/>
      <dgm:spPr/>
    </dgm:pt>
    <dgm:pt modelId="{984006A5-F23F-4C33-8F1B-458D545ADE5F}" type="pres">
      <dgm:prSet presAssocID="{6D119F06-76E3-4BA4-8D23-EBDC75953518}" presName="rootText" presStyleLbl="node1" presStyleIdx="1" presStyleCnt="6" custScaleX="147047" custLinFactNeighborX="7390" custLinFactNeighborY="-425">
        <dgm:presLayoutVars>
          <dgm:chMax/>
          <dgm:chPref val="3"/>
        </dgm:presLayoutVars>
      </dgm:prSet>
      <dgm:spPr/>
    </dgm:pt>
    <dgm:pt modelId="{833B985C-321D-42B8-B066-B077970237AB}" type="pres">
      <dgm:prSet presAssocID="{6D119F06-76E3-4BA4-8D23-EBDC75953518}" presName="titleText2" presStyleLbl="fgAcc1" presStyleIdx="1" presStyleCnt="6" custLinFactNeighborX="41432" custLinFactNeighborY="15342">
        <dgm:presLayoutVars>
          <dgm:chMax val="0"/>
          <dgm:chPref val="0"/>
        </dgm:presLayoutVars>
      </dgm:prSet>
      <dgm:spPr/>
    </dgm:pt>
    <dgm:pt modelId="{4282AA43-C652-4E52-98F1-6AF5219C2ED3}" type="pres">
      <dgm:prSet presAssocID="{6D119F06-76E3-4BA4-8D23-EBDC75953518}" presName="rootConnector" presStyleLbl="node2" presStyleIdx="0" presStyleCnt="0"/>
      <dgm:spPr/>
    </dgm:pt>
    <dgm:pt modelId="{233BBADD-6D94-4E02-8BF1-04589B7CDD29}" type="pres">
      <dgm:prSet presAssocID="{6D119F06-76E3-4BA4-8D23-EBDC75953518}" presName="hierChild4" presStyleCnt="0"/>
      <dgm:spPr/>
    </dgm:pt>
    <dgm:pt modelId="{3119DC31-4AC0-4BAF-B27B-9C0FFBF8345A}" type="pres">
      <dgm:prSet presAssocID="{6D119F06-76E3-4BA4-8D23-EBDC75953518}" presName="hierChild5" presStyleCnt="0"/>
      <dgm:spPr/>
    </dgm:pt>
    <dgm:pt modelId="{D5CE2C39-E274-4F64-9C33-866E4915C8E6}" type="pres">
      <dgm:prSet presAssocID="{7AAA24E4-BFC6-430A-90E0-0A07BD7D0239}" presName="Name37" presStyleLbl="parChTrans1D2" presStyleIdx="2" presStyleCnt="3"/>
      <dgm:spPr/>
    </dgm:pt>
    <dgm:pt modelId="{9C08ED19-08F9-4F2B-9B11-C6769763B209}" type="pres">
      <dgm:prSet presAssocID="{B82D1D36-2F25-4088-82E8-B1D33C15807D}" presName="hierRoot2" presStyleCnt="0">
        <dgm:presLayoutVars>
          <dgm:hierBranch val="init"/>
        </dgm:presLayoutVars>
      </dgm:prSet>
      <dgm:spPr/>
    </dgm:pt>
    <dgm:pt modelId="{DDAA5DE2-2510-45B1-8325-D0AC4AA93724}" type="pres">
      <dgm:prSet presAssocID="{B82D1D36-2F25-4088-82E8-B1D33C15807D}" presName="rootComposite" presStyleCnt="0"/>
      <dgm:spPr/>
    </dgm:pt>
    <dgm:pt modelId="{E62B4A5B-8CC5-4E24-A5BB-EB17C54A1C38}" type="pres">
      <dgm:prSet presAssocID="{B82D1D36-2F25-4088-82E8-B1D33C15807D}" presName="rootText" presStyleLbl="node1" presStyleIdx="2" presStyleCnt="6" custScaleX="147047" custLinFactNeighborX="22922" custLinFactNeighborY="-239">
        <dgm:presLayoutVars>
          <dgm:chMax/>
          <dgm:chPref val="3"/>
        </dgm:presLayoutVars>
      </dgm:prSet>
      <dgm:spPr/>
    </dgm:pt>
    <dgm:pt modelId="{8CC90AE8-1446-4B3F-B953-23F303967FA8}" type="pres">
      <dgm:prSet presAssocID="{B82D1D36-2F25-4088-82E8-B1D33C15807D}" presName="titleText2" presStyleLbl="fgAcc1" presStyleIdx="2" presStyleCnt="6" custLinFactNeighborX="63517" custLinFactNeighborY="5601">
        <dgm:presLayoutVars>
          <dgm:chMax val="0"/>
          <dgm:chPref val="0"/>
        </dgm:presLayoutVars>
      </dgm:prSet>
      <dgm:spPr/>
    </dgm:pt>
    <dgm:pt modelId="{E1E71083-3ED1-4B23-9054-B234397AE8FE}" type="pres">
      <dgm:prSet presAssocID="{B82D1D36-2F25-4088-82E8-B1D33C15807D}" presName="rootConnector" presStyleLbl="node2" presStyleIdx="0" presStyleCnt="0"/>
      <dgm:spPr/>
    </dgm:pt>
    <dgm:pt modelId="{D8F6C759-0657-4A4C-A969-B5B47EB27B43}" type="pres">
      <dgm:prSet presAssocID="{B82D1D36-2F25-4088-82E8-B1D33C15807D}" presName="hierChild4" presStyleCnt="0"/>
      <dgm:spPr/>
    </dgm:pt>
    <dgm:pt modelId="{F3A54B54-58BB-4C2B-B2E1-3CDCCD09B8B7}" type="pres">
      <dgm:prSet presAssocID="{24E3F8DA-718A-4C2E-B15E-2C8E1F138712}" presName="Name37" presStyleLbl="parChTrans1D3" presStyleIdx="0" presStyleCnt="2"/>
      <dgm:spPr/>
    </dgm:pt>
    <dgm:pt modelId="{6E9C094E-FB4B-4128-8B5C-558CA4176F41}" type="pres">
      <dgm:prSet presAssocID="{357900BE-8AAF-4D11-9DA1-BCF82D3971FE}" presName="hierRoot2" presStyleCnt="0">
        <dgm:presLayoutVars>
          <dgm:hierBranch val="init"/>
        </dgm:presLayoutVars>
      </dgm:prSet>
      <dgm:spPr/>
    </dgm:pt>
    <dgm:pt modelId="{2C7B5AB6-B503-4269-AE0F-BA9075D1D995}" type="pres">
      <dgm:prSet presAssocID="{357900BE-8AAF-4D11-9DA1-BCF82D3971FE}" presName="rootComposite" presStyleCnt="0"/>
      <dgm:spPr/>
    </dgm:pt>
    <dgm:pt modelId="{62CA7B2B-0FD6-4E88-9707-6A82EE755791}" type="pres">
      <dgm:prSet presAssocID="{357900BE-8AAF-4D11-9DA1-BCF82D3971FE}" presName="rootText" presStyleLbl="node1" presStyleIdx="3" presStyleCnt="6" custScaleX="107193" custScaleY="90893">
        <dgm:presLayoutVars>
          <dgm:chMax/>
          <dgm:chPref val="3"/>
        </dgm:presLayoutVars>
      </dgm:prSet>
      <dgm:spPr/>
    </dgm:pt>
    <dgm:pt modelId="{BF437B10-AF3F-4C64-8F74-4E134FD0C896}" type="pres">
      <dgm:prSet presAssocID="{357900BE-8AAF-4D11-9DA1-BCF82D3971FE}" presName="titleText2" presStyleLbl="fgAcc1" presStyleIdx="3" presStyleCnt="6" custLinFactNeighborX="18497" custLinFactNeighborY="16978">
        <dgm:presLayoutVars>
          <dgm:chMax val="0"/>
          <dgm:chPref val="0"/>
        </dgm:presLayoutVars>
      </dgm:prSet>
      <dgm:spPr/>
    </dgm:pt>
    <dgm:pt modelId="{5E2F49BB-81F0-4678-A4A2-EBF8334555B7}" type="pres">
      <dgm:prSet presAssocID="{357900BE-8AAF-4D11-9DA1-BCF82D3971FE}" presName="rootConnector" presStyleLbl="node3" presStyleIdx="0" presStyleCnt="0"/>
      <dgm:spPr/>
    </dgm:pt>
    <dgm:pt modelId="{BFDB1FEE-5E3F-49EC-A7FE-453801756D66}" type="pres">
      <dgm:prSet presAssocID="{357900BE-8AAF-4D11-9DA1-BCF82D3971FE}" presName="hierChild4" presStyleCnt="0"/>
      <dgm:spPr/>
    </dgm:pt>
    <dgm:pt modelId="{94C81E5B-69E3-4973-8CF8-6F1B88FDB92F}" type="pres">
      <dgm:prSet presAssocID="{F9DDBC71-8762-4D07-BF8C-10D7915AC23D}" presName="Name37" presStyleLbl="parChTrans1D4" presStyleIdx="0" presStyleCnt="1"/>
      <dgm:spPr/>
    </dgm:pt>
    <dgm:pt modelId="{40C30698-1DE2-43B9-8C40-EAE3058FA25D}" type="pres">
      <dgm:prSet presAssocID="{2A27C1B3-D750-44D5-8419-A564657171D5}" presName="hierRoot2" presStyleCnt="0">
        <dgm:presLayoutVars>
          <dgm:hierBranch val="init"/>
        </dgm:presLayoutVars>
      </dgm:prSet>
      <dgm:spPr/>
    </dgm:pt>
    <dgm:pt modelId="{054468B7-8083-4302-9885-46EF9BDB2DA8}" type="pres">
      <dgm:prSet presAssocID="{2A27C1B3-D750-44D5-8419-A564657171D5}" presName="rootComposite" presStyleCnt="0"/>
      <dgm:spPr/>
    </dgm:pt>
    <dgm:pt modelId="{524198AD-C7CA-424F-AC0A-BE1F050E5D67}" type="pres">
      <dgm:prSet presAssocID="{2A27C1B3-D750-44D5-8419-A564657171D5}" presName="rootText" presStyleLbl="node1" presStyleIdx="4" presStyleCnt="6" custScaleX="107313" custScaleY="89479">
        <dgm:presLayoutVars>
          <dgm:chMax/>
          <dgm:chPref val="3"/>
        </dgm:presLayoutVars>
      </dgm:prSet>
      <dgm:spPr/>
    </dgm:pt>
    <dgm:pt modelId="{89198D24-578D-452D-91AB-9D4B7FAC1C3B}" type="pres">
      <dgm:prSet presAssocID="{2A27C1B3-D750-44D5-8419-A564657171D5}" presName="titleText2" presStyleLbl="fgAcc1" presStyleIdx="4" presStyleCnt="6" custLinFactNeighborX="8778" custLinFactNeighborY="4586">
        <dgm:presLayoutVars>
          <dgm:chMax val="0"/>
          <dgm:chPref val="0"/>
        </dgm:presLayoutVars>
      </dgm:prSet>
      <dgm:spPr/>
    </dgm:pt>
    <dgm:pt modelId="{182813D1-053A-47D1-9C66-0EEA1920E502}" type="pres">
      <dgm:prSet presAssocID="{2A27C1B3-D750-44D5-8419-A564657171D5}" presName="rootConnector" presStyleLbl="node4" presStyleIdx="0" presStyleCnt="0"/>
      <dgm:spPr/>
    </dgm:pt>
    <dgm:pt modelId="{CEEF0388-7348-486C-9711-9550E3EAF3C7}" type="pres">
      <dgm:prSet presAssocID="{2A27C1B3-D750-44D5-8419-A564657171D5}" presName="hierChild4" presStyleCnt="0"/>
      <dgm:spPr/>
    </dgm:pt>
    <dgm:pt modelId="{19905C10-60EB-4C1A-98EB-B9DE1F936E5F}" type="pres">
      <dgm:prSet presAssocID="{2A27C1B3-D750-44D5-8419-A564657171D5}" presName="hierChild5" presStyleCnt="0"/>
      <dgm:spPr/>
    </dgm:pt>
    <dgm:pt modelId="{AC3299DE-66AE-431D-BF50-1FC93672D791}" type="pres">
      <dgm:prSet presAssocID="{357900BE-8AAF-4D11-9DA1-BCF82D3971FE}" presName="hierChild5" presStyleCnt="0"/>
      <dgm:spPr/>
    </dgm:pt>
    <dgm:pt modelId="{35E156C3-DA9F-4154-9D8B-4F1A10508C49}" type="pres">
      <dgm:prSet presAssocID="{BD4863D1-5CE1-4D43-AC9D-2CAC578DEFCE}" presName="Name37" presStyleLbl="parChTrans1D3" presStyleIdx="1" presStyleCnt="2"/>
      <dgm:spPr/>
    </dgm:pt>
    <dgm:pt modelId="{DAE40F0B-F8EB-4D9C-80CB-7990BEC3A416}" type="pres">
      <dgm:prSet presAssocID="{6F0C423E-D826-4863-9D6F-F52B7B81EEE7}" presName="hierRoot2" presStyleCnt="0">
        <dgm:presLayoutVars>
          <dgm:hierBranch val="init"/>
        </dgm:presLayoutVars>
      </dgm:prSet>
      <dgm:spPr/>
    </dgm:pt>
    <dgm:pt modelId="{6EBAB666-7EA3-4526-93CD-BF522DA30542}" type="pres">
      <dgm:prSet presAssocID="{6F0C423E-D826-4863-9D6F-F52B7B81EEE7}" presName="rootComposite" presStyleCnt="0"/>
      <dgm:spPr/>
    </dgm:pt>
    <dgm:pt modelId="{3865A9B9-B255-4CFC-B0D0-225E684EF599}" type="pres">
      <dgm:prSet presAssocID="{6F0C423E-D826-4863-9D6F-F52B7B81EEE7}" presName="rootText" presStyleLbl="node1" presStyleIdx="5" presStyleCnt="6" custScaleX="107313" custScaleY="90749" custLinFactNeighborX="13923" custLinFactNeighborY="2474">
        <dgm:presLayoutVars>
          <dgm:chMax/>
          <dgm:chPref val="3"/>
        </dgm:presLayoutVars>
      </dgm:prSet>
      <dgm:spPr/>
    </dgm:pt>
    <dgm:pt modelId="{707ABEC1-B21B-4DBD-85E8-A42543E691B1}" type="pres">
      <dgm:prSet presAssocID="{6F0C423E-D826-4863-9D6F-F52B7B81EEE7}" presName="titleText2" presStyleLbl="fgAcc1" presStyleIdx="5" presStyleCnt="6" custScaleX="84712" custLinFactNeighborX="44009" custLinFactNeighborY="27315">
        <dgm:presLayoutVars>
          <dgm:chMax val="0"/>
          <dgm:chPref val="0"/>
        </dgm:presLayoutVars>
      </dgm:prSet>
      <dgm:spPr/>
    </dgm:pt>
    <dgm:pt modelId="{A6BFBC7A-A8E8-48EB-B94C-171E83F855A3}" type="pres">
      <dgm:prSet presAssocID="{6F0C423E-D826-4863-9D6F-F52B7B81EEE7}" presName="rootConnector" presStyleLbl="node3" presStyleIdx="0" presStyleCnt="0"/>
      <dgm:spPr/>
    </dgm:pt>
    <dgm:pt modelId="{7DBCE98D-215A-4E6C-BEFD-AC9FEAC58492}" type="pres">
      <dgm:prSet presAssocID="{6F0C423E-D826-4863-9D6F-F52B7B81EEE7}" presName="hierChild4" presStyleCnt="0"/>
      <dgm:spPr/>
    </dgm:pt>
    <dgm:pt modelId="{CAFB70B4-22E5-438B-A9F3-1527371AEDB4}" type="pres">
      <dgm:prSet presAssocID="{6F0C423E-D826-4863-9D6F-F52B7B81EEE7}" presName="hierChild5" presStyleCnt="0"/>
      <dgm:spPr/>
    </dgm:pt>
    <dgm:pt modelId="{4536D794-D558-469C-80C6-BE277FB64AA0}" type="pres">
      <dgm:prSet presAssocID="{B82D1D36-2F25-4088-82E8-B1D33C15807D}" presName="hierChild5" presStyleCnt="0"/>
      <dgm:spPr/>
    </dgm:pt>
    <dgm:pt modelId="{71E601DC-A0A1-450F-8973-D50A7888DA9D}" type="pres">
      <dgm:prSet presAssocID="{57C51338-C86D-4FE0-A88B-BDC9855690DB}" presName="hierChild3" presStyleCnt="0"/>
      <dgm:spPr/>
    </dgm:pt>
  </dgm:ptLst>
  <dgm:cxnLst>
    <dgm:cxn modelId="{69AFD806-E884-4DD3-BAA3-DD387E60D7E9}" type="presOf" srcId="{357900BE-8AAF-4D11-9DA1-BCF82D3971FE}" destId="{62CA7B2B-0FD6-4E88-9707-6A82EE755791}" srcOrd="0" destOrd="0" presId="urn:microsoft.com/office/officeart/2008/layout/NameandTitleOrganizationalChart"/>
    <dgm:cxn modelId="{0FAC0D07-93E7-4069-A1C1-17A0E310D122}" srcId="{57C51338-C86D-4FE0-A88B-BDC9855690DB}" destId="{6D119F06-76E3-4BA4-8D23-EBDC75953518}" srcOrd="1" destOrd="0" parTransId="{3F8AA17E-8B87-4744-A3AE-8DFFAC17FB62}" sibTransId="{E4520366-BF43-4A97-8A07-087C82FA78F1}"/>
    <dgm:cxn modelId="{141EDE18-53BB-40A7-BBF7-19F14064A0E4}" type="presOf" srcId="{2A27C1B3-D750-44D5-8419-A564657171D5}" destId="{182813D1-053A-47D1-9C66-0EEA1920E502}" srcOrd="1" destOrd="0" presId="urn:microsoft.com/office/officeart/2008/layout/NameandTitleOrganizationalChart"/>
    <dgm:cxn modelId="{CE910E21-1378-4156-AE6E-4E6C8075A29F}" type="presOf" srcId="{24E3F8DA-718A-4C2E-B15E-2C8E1F138712}" destId="{F3A54B54-58BB-4C2B-B2E1-3CDCCD09B8B7}" srcOrd="0" destOrd="0" presId="urn:microsoft.com/office/officeart/2008/layout/NameandTitleOrganizationalChart"/>
    <dgm:cxn modelId="{6568A026-FBE2-4EB2-A0A4-CAF1AC973842}" type="presOf" srcId="{57C51338-C86D-4FE0-A88B-BDC9855690DB}" destId="{1730C078-35B1-4393-8198-2AC6CD7EC9BC}" srcOrd="1" destOrd="0" presId="urn:microsoft.com/office/officeart/2008/layout/NameandTitleOrganizationalChart"/>
    <dgm:cxn modelId="{6EBD0531-6DED-48E1-8BAB-D2B9979CE77C}" type="presOf" srcId="{F9DDBC71-8762-4D07-BF8C-10D7915AC23D}" destId="{94C81E5B-69E3-4973-8CF8-6F1B88FDB92F}" srcOrd="0" destOrd="0" presId="urn:microsoft.com/office/officeart/2008/layout/NameandTitleOrganizationalChart"/>
    <dgm:cxn modelId="{16091537-F804-4614-A3B9-AC81D8E57127}" type="presOf" srcId="{E4520366-BF43-4A97-8A07-087C82FA78F1}" destId="{833B985C-321D-42B8-B066-B077970237AB}" srcOrd="0" destOrd="0" presId="urn:microsoft.com/office/officeart/2008/layout/NameandTitleOrganizationalChart"/>
    <dgm:cxn modelId="{7CCAE538-5569-4CA0-84BD-AE194E21CA3B}" type="presOf" srcId="{A47E5B15-DFCD-4796-AE6F-509A894FBAA5}" destId="{CBB2FC6A-8F31-423C-8B8F-0604FB6AC664}" srcOrd="1" destOrd="0" presId="urn:microsoft.com/office/officeart/2008/layout/NameandTitleOrganizationalChart"/>
    <dgm:cxn modelId="{2F2CE83B-6EE2-4F54-9565-2E3D7BE2A7FA}" type="presOf" srcId="{7AAA24E4-BFC6-430A-90E0-0A07BD7D0239}" destId="{D5CE2C39-E274-4F64-9C33-866E4915C8E6}" srcOrd="0" destOrd="0" presId="urn:microsoft.com/office/officeart/2008/layout/NameandTitleOrganizationalChart"/>
    <dgm:cxn modelId="{F6F0D23E-CF02-4D18-8A34-B665D1775CED}" srcId="{57C51338-C86D-4FE0-A88B-BDC9855690DB}" destId="{A47E5B15-DFCD-4796-AE6F-509A894FBAA5}" srcOrd="0" destOrd="0" parTransId="{E26F8EA2-332D-44FC-A8B5-283867F6C8CA}" sibTransId="{E8D8757C-B9E8-4077-B13D-7C3E6896ED35}"/>
    <dgm:cxn modelId="{A7BB8B5E-7087-450C-9235-7FE561961F9F}" srcId="{B82D1D36-2F25-4088-82E8-B1D33C15807D}" destId="{6F0C423E-D826-4863-9D6F-F52B7B81EEE7}" srcOrd="1" destOrd="0" parTransId="{BD4863D1-5CE1-4D43-AC9D-2CAC578DEFCE}" sibTransId="{05564B32-C913-4C7C-B926-2DA0D46F52C4}"/>
    <dgm:cxn modelId="{B9D26462-12F0-4C65-ABF0-1A35CFE51599}" type="presOf" srcId="{2A27C1B3-D750-44D5-8419-A564657171D5}" destId="{524198AD-C7CA-424F-AC0A-BE1F050E5D67}" srcOrd="0" destOrd="0" presId="urn:microsoft.com/office/officeart/2008/layout/NameandTitleOrganizationalChart"/>
    <dgm:cxn modelId="{C22E9163-722A-4A44-ADF5-193718CF0556}" type="presOf" srcId="{9BBF2716-5C8B-4995-BB77-C5E513A2C0BB}" destId="{06510F17-B45C-48A4-9FEB-A8558F1E16F6}" srcOrd="0" destOrd="0" presId="urn:microsoft.com/office/officeart/2008/layout/NameandTitleOrganizationalChart"/>
    <dgm:cxn modelId="{22B5D065-D445-44A2-8642-141F857F4D49}" type="presOf" srcId="{57C51338-C86D-4FE0-A88B-BDC9855690DB}" destId="{8E9EDB8F-2BB0-4ECA-8EE7-7552860071DE}" srcOrd="0" destOrd="0" presId="urn:microsoft.com/office/officeart/2008/layout/NameandTitleOrganizationalChart"/>
    <dgm:cxn modelId="{9A387B47-A940-40E0-9811-227516C79C39}" type="presOf" srcId="{A47E5B15-DFCD-4796-AE6F-509A894FBAA5}" destId="{145C744D-790D-4F4B-B1E8-FD4DD6B5B13E}" srcOrd="0" destOrd="0" presId="urn:microsoft.com/office/officeart/2008/layout/NameandTitleOrganizationalChart"/>
    <dgm:cxn modelId="{9D339B48-BEE4-4429-B205-F55C9662CEBF}" type="presOf" srcId="{3F8AA17E-8B87-4744-A3AE-8DFFAC17FB62}" destId="{04A52945-8F3B-4930-A296-846B850218D4}" srcOrd="0" destOrd="0" presId="urn:microsoft.com/office/officeart/2008/layout/NameandTitleOrganizationalChart"/>
    <dgm:cxn modelId="{BF1E136B-6560-45CC-B650-40C4AE8C7331}" type="presOf" srcId="{FF09FFF1-A962-4A33-9DC0-549AD4232136}" destId="{8CC90AE8-1446-4B3F-B953-23F303967FA8}" srcOrd="0" destOrd="0" presId="urn:microsoft.com/office/officeart/2008/layout/NameandTitleOrganizationalChart"/>
    <dgm:cxn modelId="{4CE9C66D-DD7A-4028-B238-BB8296FE7A48}" type="presOf" srcId="{E26F8EA2-332D-44FC-A8B5-283867F6C8CA}" destId="{0D34FA30-60B2-4BB5-9642-96F72D98C841}" srcOrd="0" destOrd="0" presId="urn:microsoft.com/office/officeart/2008/layout/NameandTitleOrganizationalChart"/>
    <dgm:cxn modelId="{286DDF50-7F30-495B-9D9E-91E478BD3117}" type="presOf" srcId="{DEBB7371-C6D3-473F-9D03-DFCCD3711F44}" destId="{BF437B10-AF3F-4C64-8F74-4E134FD0C896}" srcOrd="0" destOrd="0" presId="urn:microsoft.com/office/officeart/2008/layout/NameandTitleOrganizationalChart"/>
    <dgm:cxn modelId="{7AC24A57-AA5B-491A-8E69-891420F18D2B}" type="presOf" srcId="{6F0C423E-D826-4863-9D6F-F52B7B81EEE7}" destId="{3865A9B9-B255-4CFC-B0D0-225E684EF599}" srcOrd="0" destOrd="0" presId="urn:microsoft.com/office/officeart/2008/layout/NameandTitleOrganizationalChart"/>
    <dgm:cxn modelId="{C6B81659-CC64-4519-9964-CF742DE49692}" type="presOf" srcId="{05564B32-C913-4C7C-B926-2DA0D46F52C4}" destId="{707ABEC1-B21B-4DBD-85E8-A42543E691B1}" srcOrd="0" destOrd="0" presId="urn:microsoft.com/office/officeart/2008/layout/NameandTitleOrganizationalChart"/>
    <dgm:cxn modelId="{A33E467E-220B-404F-B4FB-6D704BECBEAC}" type="presOf" srcId="{357900BE-8AAF-4D11-9DA1-BCF82D3971FE}" destId="{5E2F49BB-81F0-4678-A4A2-EBF8334555B7}" srcOrd="1" destOrd="0" presId="urn:microsoft.com/office/officeart/2008/layout/NameandTitleOrganizationalChart"/>
    <dgm:cxn modelId="{0DCC5287-540D-4498-8330-5CD512A10B01}" srcId="{B82D1D36-2F25-4088-82E8-B1D33C15807D}" destId="{357900BE-8AAF-4D11-9DA1-BCF82D3971FE}" srcOrd="0" destOrd="0" parTransId="{24E3F8DA-718A-4C2E-B15E-2C8E1F138712}" sibTransId="{DEBB7371-C6D3-473F-9D03-DFCCD3711F44}"/>
    <dgm:cxn modelId="{53CDA587-D3B5-42AB-A5CF-09B474ADC0C3}" srcId="{57C51338-C86D-4FE0-A88B-BDC9855690DB}" destId="{B82D1D36-2F25-4088-82E8-B1D33C15807D}" srcOrd="2" destOrd="0" parTransId="{7AAA24E4-BFC6-430A-90E0-0A07BD7D0239}" sibTransId="{FF09FFF1-A962-4A33-9DC0-549AD4232136}"/>
    <dgm:cxn modelId="{6F3E8996-8CBE-4E8D-AE1D-5CD4B2E777A4}" type="presOf" srcId="{58DD24A0-F1BD-4283-94AC-9588583E5A8A}" destId="{89198D24-578D-452D-91AB-9D4B7FAC1C3B}" srcOrd="0" destOrd="0" presId="urn:microsoft.com/office/officeart/2008/layout/NameandTitleOrganizationalChart"/>
    <dgm:cxn modelId="{8620C798-11EF-46B6-815B-88BF22CF935A}" type="presOf" srcId="{BD4863D1-5CE1-4D43-AC9D-2CAC578DEFCE}" destId="{35E156C3-DA9F-4154-9D8B-4F1A10508C49}" srcOrd="0" destOrd="0" presId="urn:microsoft.com/office/officeart/2008/layout/NameandTitleOrganizationalChart"/>
    <dgm:cxn modelId="{1A049BC1-0BA6-45B4-AE42-FBA77FDF8B22}" type="presOf" srcId="{B82D1D36-2F25-4088-82E8-B1D33C15807D}" destId="{E62B4A5B-8CC5-4E24-A5BB-EB17C54A1C38}" srcOrd="0" destOrd="0" presId="urn:microsoft.com/office/officeart/2008/layout/NameandTitleOrganizationalChart"/>
    <dgm:cxn modelId="{05EE03C4-E1B1-45B3-81E5-E0C2301D02B8}" type="presOf" srcId="{B82D1D36-2F25-4088-82E8-B1D33C15807D}" destId="{E1E71083-3ED1-4B23-9054-B234397AE8FE}" srcOrd="1" destOrd="0" presId="urn:microsoft.com/office/officeart/2008/layout/NameandTitleOrganizationalChart"/>
    <dgm:cxn modelId="{8FB4E3C5-8C0F-4FAF-A813-AB43B2287F1C}" srcId="{97358483-22AE-4011-B5E7-5007D3AA9B9D}" destId="{57C51338-C86D-4FE0-A88B-BDC9855690DB}" srcOrd="0" destOrd="0" parTransId="{62C6E6A7-4C6C-406F-8031-DA21FA10F93E}" sibTransId="{9BBF2716-5C8B-4995-BB77-C5E513A2C0BB}"/>
    <dgm:cxn modelId="{862083DF-5165-426D-8786-7A685781BBD5}" type="presOf" srcId="{6D119F06-76E3-4BA4-8D23-EBDC75953518}" destId="{984006A5-F23F-4C33-8F1B-458D545ADE5F}" srcOrd="0" destOrd="0" presId="urn:microsoft.com/office/officeart/2008/layout/NameandTitleOrganizationalChart"/>
    <dgm:cxn modelId="{11F4E5E2-8A43-4D6A-ABBB-DF2D6B96489D}" type="presOf" srcId="{6F0C423E-D826-4863-9D6F-F52B7B81EEE7}" destId="{A6BFBC7A-A8E8-48EB-B94C-171E83F855A3}" srcOrd="1" destOrd="0" presId="urn:microsoft.com/office/officeart/2008/layout/NameandTitleOrganizationalChart"/>
    <dgm:cxn modelId="{57146BE3-C7F3-44D2-9F5E-BE2BB6136BFB}" type="presOf" srcId="{E8D8757C-B9E8-4077-B13D-7C3E6896ED35}" destId="{13A5C22E-8377-49CC-A146-E3C9CA6EF264}" srcOrd="0" destOrd="0" presId="urn:microsoft.com/office/officeart/2008/layout/NameandTitleOrganizationalChart"/>
    <dgm:cxn modelId="{8A6DD0E5-5FE8-4728-BBAF-08ED5BD76E22}" type="presOf" srcId="{6D119F06-76E3-4BA4-8D23-EBDC75953518}" destId="{4282AA43-C652-4E52-98F1-6AF5219C2ED3}" srcOrd="1" destOrd="0" presId="urn:microsoft.com/office/officeart/2008/layout/NameandTitleOrganizationalChart"/>
    <dgm:cxn modelId="{001614F1-0E48-4314-BD8B-24834812C570}" type="presOf" srcId="{97358483-22AE-4011-B5E7-5007D3AA9B9D}" destId="{425FEA47-8DDB-4ECA-A41E-C1A3A19B32DD}" srcOrd="0" destOrd="0" presId="urn:microsoft.com/office/officeart/2008/layout/NameandTitleOrganizationalChart"/>
    <dgm:cxn modelId="{F3C93EFA-A4A5-49E2-ACAE-E227CC6A0EF9}" srcId="{357900BE-8AAF-4D11-9DA1-BCF82D3971FE}" destId="{2A27C1B3-D750-44D5-8419-A564657171D5}" srcOrd="0" destOrd="0" parTransId="{F9DDBC71-8762-4D07-BF8C-10D7915AC23D}" sibTransId="{58DD24A0-F1BD-4283-94AC-9588583E5A8A}"/>
    <dgm:cxn modelId="{0296D91F-6475-4C81-8375-1CB92EEE5B6C}" type="presParOf" srcId="{425FEA47-8DDB-4ECA-A41E-C1A3A19B32DD}" destId="{E2918F03-D44C-4F98-9160-B91BA7DE94E0}" srcOrd="0" destOrd="0" presId="urn:microsoft.com/office/officeart/2008/layout/NameandTitleOrganizationalChart"/>
    <dgm:cxn modelId="{6E78294E-4761-4727-AEA4-39E6AC744B76}" type="presParOf" srcId="{E2918F03-D44C-4F98-9160-B91BA7DE94E0}" destId="{28AAAC64-3110-4A22-AFD1-F5337A61ACB5}" srcOrd="0" destOrd="0" presId="urn:microsoft.com/office/officeart/2008/layout/NameandTitleOrganizationalChart"/>
    <dgm:cxn modelId="{B2B0F8AF-05B7-4885-8416-6A4FC8139BE7}" type="presParOf" srcId="{28AAAC64-3110-4A22-AFD1-F5337A61ACB5}" destId="{8E9EDB8F-2BB0-4ECA-8EE7-7552860071DE}" srcOrd="0" destOrd="0" presId="urn:microsoft.com/office/officeart/2008/layout/NameandTitleOrganizationalChart"/>
    <dgm:cxn modelId="{D55A3D93-E29D-4D13-8205-82CD10141D94}" type="presParOf" srcId="{28AAAC64-3110-4A22-AFD1-F5337A61ACB5}" destId="{06510F17-B45C-48A4-9FEB-A8558F1E16F6}" srcOrd="1" destOrd="0" presId="urn:microsoft.com/office/officeart/2008/layout/NameandTitleOrganizationalChart"/>
    <dgm:cxn modelId="{5425BE92-0279-43DB-891C-A7B99403B099}" type="presParOf" srcId="{28AAAC64-3110-4A22-AFD1-F5337A61ACB5}" destId="{1730C078-35B1-4393-8198-2AC6CD7EC9BC}" srcOrd="2" destOrd="0" presId="urn:microsoft.com/office/officeart/2008/layout/NameandTitleOrganizationalChart"/>
    <dgm:cxn modelId="{1BE047C1-95E0-43A6-8CCA-848E681E6183}" type="presParOf" srcId="{E2918F03-D44C-4F98-9160-B91BA7DE94E0}" destId="{C5BA02FF-469D-4FF5-B8C0-0C45DCF26CCA}" srcOrd="1" destOrd="0" presId="urn:microsoft.com/office/officeart/2008/layout/NameandTitleOrganizationalChart"/>
    <dgm:cxn modelId="{38DC1367-2631-4F0C-99C9-84F72E4A6007}" type="presParOf" srcId="{C5BA02FF-469D-4FF5-B8C0-0C45DCF26CCA}" destId="{0D34FA30-60B2-4BB5-9642-96F72D98C841}" srcOrd="0" destOrd="0" presId="urn:microsoft.com/office/officeart/2008/layout/NameandTitleOrganizationalChart"/>
    <dgm:cxn modelId="{5D24F87C-B699-4007-9031-6D3E34B14A50}" type="presParOf" srcId="{C5BA02FF-469D-4FF5-B8C0-0C45DCF26CCA}" destId="{E8532ECB-BEF0-4B0C-BAD4-327193135F0D}" srcOrd="1" destOrd="0" presId="urn:microsoft.com/office/officeart/2008/layout/NameandTitleOrganizationalChart"/>
    <dgm:cxn modelId="{127CF541-0986-4CD0-A1E0-FFAB236CA603}" type="presParOf" srcId="{E8532ECB-BEF0-4B0C-BAD4-327193135F0D}" destId="{3638C58B-4D41-4442-A641-B944C82EBD4F}" srcOrd="0" destOrd="0" presId="urn:microsoft.com/office/officeart/2008/layout/NameandTitleOrganizationalChart"/>
    <dgm:cxn modelId="{45397645-8FE0-44E4-8B07-D306213F7245}" type="presParOf" srcId="{3638C58B-4D41-4442-A641-B944C82EBD4F}" destId="{145C744D-790D-4F4B-B1E8-FD4DD6B5B13E}" srcOrd="0" destOrd="0" presId="urn:microsoft.com/office/officeart/2008/layout/NameandTitleOrganizationalChart"/>
    <dgm:cxn modelId="{2BD6EFF3-858F-4C9B-A956-DE81E973EA64}" type="presParOf" srcId="{3638C58B-4D41-4442-A641-B944C82EBD4F}" destId="{13A5C22E-8377-49CC-A146-E3C9CA6EF264}" srcOrd="1" destOrd="0" presId="urn:microsoft.com/office/officeart/2008/layout/NameandTitleOrganizationalChart"/>
    <dgm:cxn modelId="{C71EBD59-0DF3-4F9A-9187-2121B331C4E1}" type="presParOf" srcId="{3638C58B-4D41-4442-A641-B944C82EBD4F}" destId="{CBB2FC6A-8F31-423C-8B8F-0604FB6AC664}" srcOrd="2" destOrd="0" presId="urn:microsoft.com/office/officeart/2008/layout/NameandTitleOrganizationalChart"/>
    <dgm:cxn modelId="{4DBF2C86-F11B-4407-B8A3-1DFEC8B4CC87}" type="presParOf" srcId="{E8532ECB-BEF0-4B0C-BAD4-327193135F0D}" destId="{74908E35-99D3-4D2D-9D4A-4755071990D4}" srcOrd="1" destOrd="0" presId="urn:microsoft.com/office/officeart/2008/layout/NameandTitleOrganizationalChart"/>
    <dgm:cxn modelId="{9F724745-6FA7-4987-A5F8-7C8DAD1C6427}" type="presParOf" srcId="{E8532ECB-BEF0-4B0C-BAD4-327193135F0D}" destId="{39FE30EA-A3A1-4E67-A01D-F278A7063DBD}" srcOrd="2" destOrd="0" presId="urn:microsoft.com/office/officeart/2008/layout/NameandTitleOrganizationalChart"/>
    <dgm:cxn modelId="{541D35AA-2D07-4367-A54A-F161B8EE7BF3}" type="presParOf" srcId="{C5BA02FF-469D-4FF5-B8C0-0C45DCF26CCA}" destId="{04A52945-8F3B-4930-A296-846B850218D4}" srcOrd="2" destOrd="0" presId="urn:microsoft.com/office/officeart/2008/layout/NameandTitleOrganizationalChart"/>
    <dgm:cxn modelId="{CDE825B1-7F36-4B9C-99BF-56356E840577}" type="presParOf" srcId="{C5BA02FF-469D-4FF5-B8C0-0C45DCF26CCA}" destId="{672E9720-7A1E-42F0-AC64-F8A4C2841DF7}" srcOrd="3" destOrd="0" presId="urn:microsoft.com/office/officeart/2008/layout/NameandTitleOrganizationalChart"/>
    <dgm:cxn modelId="{666BB473-673E-4EE3-B2CF-DD5168A1C4BF}" type="presParOf" srcId="{672E9720-7A1E-42F0-AC64-F8A4C2841DF7}" destId="{79E42A5B-6FB0-42E3-B29F-2BB3F6FE37D2}" srcOrd="0" destOrd="0" presId="urn:microsoft.com/office/officeart/2008/layout/NameandTitleOrganizationalChart"/>
    <dgm:cxn modelId="{110636F1-D904-48E4-96F7-B868FFE73E83}" type="presParOf" srcId="{79E42A5B-6FB0-42E3-B29F-2BB3F6FE37D2}" destId="{984006A5-F23F-4C33-8F1B-458D545ADE5F}" srcOrd="0" destOrd="0" presId="urn:microsoft.com/office/officeart/2008/layout/NameandTitleOrganizationalChart"/>
    <dgm:cxn modelId="{1264A505-9C58-4D6F-B719-59BED4E23894}" type="presParOf" srcId="{79E42A5B-6FB0-42E3-B29F-2BB3F6FE37D2}" destId="{833B985C-321D-42B8-B066-B077970237AB}" srcOrd="1" destOrd="0" presId="urn:microsoft.com/office/officeart/2008/layout/NameandTitleOrganizationalChart"/>
    <dgm:cxn modelId="{404068C2-17C4-444E-A247-55CEEC615ACC}" type="presParOf" srcId="{79E42A5B-6FB0-42E3-B29F-2BB3F6FE37D2}" destId="{4282AA43-C652-4E52-98F1-6AF5219C2ED3}" srcOrd="2" destOrd="0" presId="urn:microsoft.com/office/officeart/2008/layout/NameandTitleOrganizationalChart"/>
    <dgm:cxn modelId="{A8997F48-EFCD-4708-8ABE-FA9EDD12C1AD}" type="presParOf" srcId="{672E9720-7A1E-42F0-AC64-F8A4C2841DF7}" destId="{233BBADD-6D94-4E02-8BF1-04589B7CDD29}" srcOrd="1" destOrd="0" presId="urn:microsoft.com/office/officeart/2008/layout/NameandTitleOrganizationalChart"/>
    <dgm:cxn modelId="{F9A14BE9-57E4-4432-BA49-12B51D34C1B6}" type="presParOf" srcId="{672E9720-7A1E-42F0-AC64-F8A4C2841DF7}" destId="{3119DC31-4AC0-4BAF-B27B-9C0FFBF8345A}" srcOrd="2" destOrd="0" presId="urn:microsoft.com/office/officeart/2008/layout/NameandTitleOrganizationalChart"/>
    <dgm:cxn modelId="{8C21059A-D252-4E6A-AEFD-B74C5D0EC522}" type="presParOf" srcId="{C5BA02FF-469D-4FF5-B8C0-0C45DCF26CCA}" destId="{D5CE2C39-E274-4F64-9C33-866E4915C8E6}" srcOrd="4" destOrd="0" presId="urn:microsoft.com/office/officeart/2008/layout/NameandTitleOrganizationalChart"/>
    <dgm:cxn modelId="{06BEE71A-AA23-4BA3-A426-4D14F40D14D9}" type="presParOf" srcId="{C5BA02FF-469D-4FF5-B8C0-0C45DCF26CCA}" destId="{9C08ED19-08F9-4F2B-9B11-C6769763B209}" srcOrd="5" destOrd="0" presId="urn:microsoft.com/office/officeart/2008/layout/NameandTitleOrganizationalChart"/>
    <dgm:cxn modelId="{F1D2A673-A4C0-47B5-869B-EE04ED5108C9}" type="presParOf" srcId="{9C08ED19-08F9-4F2B-9B11-C6769763B209}" destId="{DDAA5DE2-2510-45B1-8325-D0AC4AA93724}" srcOrd="0" destOrd="0" presId="urn:microsoft.com/office/officeart/2008/layout/NameandTitleOrganizationalChart"/>
    <dgm:cxn modelId="{6BA7D302-EA02-4B68-9279-47695274871B}" type="presParOf" srcId="{DDAA5DE2-2510-45B1-8325-D0AC4AA93724}" destId="{E62B4A5B-8CC5-4E24-A5BB-EB17C54A1C38}" srcOrd="0" destOrd="0" presId="urn:microsoft.com/office/officeart/2008/layout/NameandTitleOrganizationalChart"/>
    <dgm:cxn modelId="{0157B33B-4CA2-4A6C-A1B3-2A4A36473665}" type="presParOf" srcId="{DDAA5DE2-2510-45B1-8325-D0AC4AA93724}" destId="{8CC90AE8-1446-4B3F-B953-23F303967FA8}" srcOrd="1" destOrd="0" presId="urn:microsoft.com/office/officeart/2008/layout/NameandTitleOrganizationalChart"/>
    <dgm:cxn modelId="{EB04A2CE-FC01-4A0C-82AC-802B2DEA7333}" type="presParOf" srcId="{DDAA5DE2-2510-45B1-8325-D0AC4AA93724}" destId="{E1E71083-3ED1-4B23-9054-B234397AE8FE}" srcOrd="2" destOrd="0" presId="urn:microsoft.com/office/officeart/2008/layout/NameandTitleOrganizationalChart"/>
    <dgm:cxn modelId="{289DCAF4-F3D3-4C99-89CE-F2C9E4B8699E}" type="presParOf" srcId="{9C08ED19-08F9-4F2B-9B11-C6769763B209}" destId="{D8F6C759-0657-4A4C-A969-B5B47EB27B43}" srcOrd="1" destOrd="0" presId="urn:microsoft.com/office/officeart/2008/layout/NameandTitleOrganizationalChart"/>
    <dgm:cxn modelId="{376F95F5-0125-4A6F-A779-AF3A55569C5B}" type="presParOf" srcId="{D8F6C759-0657-4A4C-A969-B5B47EB27B43}" destId="{F3A54B54-58BB-4C2B-B2E1-3CDCCD09B8B7}" srcOrd="0" destOrd="0" presId="urn:microsoft.com/office/officeart/2008/layout/NameandTitleOrganizationalChart"/>
    <dgm:cxn modelId="{B6C3FED0-A198-4115-BF0A-3A357E807132}" type="presParOf" srcId="{D8F6C759-0657-4A4C-A969-B5B47EB27B43}" destId="{6E9C094E-FB4B-4128-8B5C-558CA4176F41}" srcOrd="1" destOrd="0" presId="urn:microsoft.com/office/officeart/2008/layout/NameandTitleOrganizationalChart"/>
    <dgm:cxn modelId="{82BC8B3B-2E3B-4D72-8C79-2F1C57C5746C}" type="presParOf" srcId="{6E9C094E-FB4B-4128-8B5C-558CA4176F41}" destId="{2C7B5AB6-B503-4269-AE0F-BA9075D1D995}" srcOrd="0" destOrd="0" presId="urn:microsoft.com/office/officeart/2008/layout/NameandTitleOrganizationalChart"/>
    <dgm:cxn modelId="{B913306F-89C2-463F-85C0-17FBEC679EFF}" type="presParOf" srcId="{2C7B5AB6-B503-4269-AE0F-BA9075D1D995}" destId="{62CA7B2B-0FD6-4E88-9707-6A82EE755791}" srcOrd="0" destOrd="0" presId="urn:microsoft.com/office/officeart/2008/layout/NameandTitleOrganizationalChart"/>
    <dgm:cxn modelId="{F9DC733C-00B2-4ADB-9630-C2D58A5E0503}" type="presParOf" srcId="{2C7B5AB6-B503-4269-AE0F-BA9075D1D995}" destId="{BF437B10-AF3F-4C64-8F74-4E134FD0C896}" srcOrd="1" destOrd="0" presId="urn:microsoft.com/office/officeart/2008/layout/NameandTitleOrganizationalChart"/>
    <dgm:cxn modelId="{6F934983-8D40-489E-B6B6-8EFC1DC9D99F}" type="presParOf" srcId="{2C7B5AB6-B503-4269-AE0F-BA9075D1D995}" destId="{5E2F49BB-81F0-4678-A4A2-EBF8334555B7}" srcOrd="2" destOrd="0" presId="urn:microsoft.com/office/officeart/2008/layout/NameandTitleOrganizationalChart"/>
    <dgm:cxn modelId="{EB128428-8576-4F8C-87BF-F4EBA2BB3792}" type="presParOf" srcId="{6E9C094E-FB4B-4128-8B5C-558CA4176F41}" destId="{BFDB1FEE-5E3F-49EC-A7FE-453801756D66}" srcOrd="1" destOrd="0" presId="urn:microsoft.com/office/officeart/2008/layout/NameandTitleOrganizationalChart"/>
    <dgm:cxn modelId="{24FA2531-35B9-4CC6-AA00-AF7ED0869A81}" type="presParOf" srcId="{BFDB1FEE-5E3F-49EC-A7FE-453801756D66}" destId="{94C81E5B-69E3-4973-8CF8-6F1B88FDB92F}" srcOrd="0" destOrd="0" presId="urn:microsoft.com/office/officeart/2008/layout/NameandTitleOrganizationalChart"/>
    <dgm:cxn modelId="{A4C5D098-7921-4191-9F78-D5DBAE6B77AC}" type="presParOf" srcId="{BFDB1FEE-5E3F-49EC-A7FE-453801756D66}" destId="{40C30698-1DE2-43B9-8C40-EAE3058FA25D}" srcOrd="1" destOrd="0" presId="urn:microsoft.com/office/officeart/2008/layout/NameandTitleOrganizationalChart"/>
    <dgm:cxn modelId="{215CC7D3-44D9-4FAE-8805-73DA86776069}" type="presParOf" srcId="{40C30698-1DE2-43B9-8C40-EAE3058FA25D}" destId="{054468B7-8083-4302-9885-46EF9BDB2DA8}" srcOrd="0" destOrd="0" presId="urn:microsoft.com/office/officeart/2008/layout/NameandTitleOrganizationalChart"/>
    <dgm:cxn modelId="{3FFEE6CE-B97A-4317-BA88-53DFA17A970D}" type="presParOf" srcId="{054468B7-8083-4302-9885-46EF9BDB2DA8}" destId="{524198AD-C7CA-424F-AC0A-BE1F050E5D67}" srcOrd="0" destOrd="0" presId="urn:microsoft.com/office/officeart/2008/layout/NameandTitleOrganizationalChart"/>
    <dgm:cxn modelId="{3E5A2B9B-B3BF-431F-BFD8-F1E45348BEC3}" type="presParOf" srcId="{054468B7-8083-4302-9885-46EF9BDB2DA8}" destId="{89198D24-578D-452D-91AB-9D4B7FAC1C3B}" srcOrd="1" destOrd="0" presId="urn:microsoft.com/office/officeart/2008/layout/NameandTitleOrganizationalChart"/>
    <dgm:cxn modelId="{A24CF32C-9171-4B84-B41D-A677E93E30BE}" type="presParOf" srcId="{054468B7-8083-4302-9885-46EF9BDB2DA8}" destId="{182813D1-053A-47D1-9C66-0EEA1920E502}" srcOrd="2" destOrd="0" presId="urn:microsoft.com/office/officeart/2008/layout/NameandTitleOrganizationalChart"/>
    <dgm:cxn modelId="{D8CFE1AC-906F-4374-8C35-AF968426B942}" type="presParOf" srcId="{40C30698-1DE2-43B9-8C40-EAE3058FA25D}" destId="{CEEF0388-7348-486C-9711-9550E3EAF3C7}" srcOrd="1" destOrd="0" presId="urn:microsoft.com/office/officeart/2008/layout/NameandTitleOrganizationalChart"/>
    <dgm:cxn modelId="{C91D517A-D455-45AF-B1B2-4CC53863C581}" type="presParOf" srcId="{40C30698-1DE2-43B9-8C40-EAE3058FA25D}" destId="{19905C10-60EB-4C1A-98EB-B9DE1F936E5F}" srcOrd="2" destOrd="0" presId="urn:microsoft.com/office/officeart/2008/layout/NameandTitleOrganizationalChart"/>
    <dgm:cxn modelId="{7D2B4AD0-17AD-4A74-9789-F95216D345E0}" type="presParOf" srcId="{6E9C094E-FB4B-4128-8B5C-558CA4176F41}" destId="{AC3299DE-66AE-431D-BF50-1FC93672D791}" srcOrd="2" destOrd="0" presId="urn:microsoft.com/office/officeart/2008/layout/NameandTitleOrganizationalChart"/>
    <dgm:cxn modelId="{EB2F8F5B-1A78-4E34-9522-9081C59E90D1}" type="presParOf" srcId="{D8F6C759-0657-4A4C-A969-B5B47EB27B43}" destId="{35E156C3-DA9F-4154-9D8B-4F1A10508C49}" srcOrd="2" destOrd="0" presId="urn:microsoft.com/office/officeart/2008/layout/NameandTitleOrganizationalChart"/>
    <dgm:cxn modelId="{413CE33B-5333-40E4-87EB-3C93324B24E3}" type="presParOf" srcId="{D8F6C759-0657-4A4C-A969-B5B47EB27B43}" destId="{DAE40F0B-F8EB-4D9C-80CB-7990BEC3A416}" srcOrd="3" destOrd="0" presId="urn:microsoft.com/office/officeart/2008/layout/NameandTitleOrganizationalChart"/>
    <dgm:cxn modelId="{AD4998D0-1776-406D-A9AB-B45F989DB770}" type="presParOf" srcId="{DAE40F0B-F8EB-4D9C-80CB-7990BEC3A416}" destId="{6EBAB666-7EA3-4526-93CD-BF522DA30542}" srcOrd="0" destOrd="0" presId="urn:microsoft.com/office/officeart/2008/layout/NameandTitleOrganizationalChart"/>
    <dgm:cxn modelId="{95202063-59C1-4C69-A53C-5159C5337AC9}" type="presParOf" srcId="{6EBAB666-7EA3-4526-93CD-BF522DA30542}" destId="{3865A9B9-B255-4CFC-B0D0-225E684EF599}" srcOrd="0" destOrd="0" presId="urn:microsoft.com/office/officeart/2008/layout/NameandTitleOrganizationalChart"/>
    <dgm:cxn modelId="{19C16819-3F3F-4AE1-BF23-D3558232D28C}" type="presParOf" srcId="{6EBAB666-7EA3-4526-93CD-BF522DA30542}" destId="{707ABEC1-B21B-4DBD-85E8-A42543E691B1}" srcOrd="1" destOrd="0" presId="urn:microsoft.com/office/officeart/2008/layout/NameandTitleOrganizationalChart"/>
    <dgm:cxn modelId="{E6E04B81-4FB2-488E-9D51-A612D8E5F749}" type="presParOf" srcId="{6EBAB666-7EA3-4526-93CD-BF522DA30542}" destId="{A6BFBC7A-A8E8-48EB-B94C-171E83F855A3}" srcOrd="2" destOrd="0" presId="urn:microsoft.com/office/officeart/2008/layout/NameandTitleOrganizationalChart"/>
    <dgm:cxn modelId="{F68E4993-27AD-4E13-B8CD-95899E2BCAA1}" type="presParOf" srcId="{DAE40F0B-F8EB-4D9C-80CB-7990BEC3A416}" destId="{7DBCE98D-215A-4E6C-BEFD-AC9FEAC58492}" srcOrd="1" destOrd="0" presId="urn:microsoft.com/office/officeart/2008/layout/NameandTitleOrganizationalChart"/>
    <dgm:cxn modelId="{8194FE9B-EC3C-45C6-A944-14DE6204D746}" type="presParOf" srcId="{DAE40F0B-F8EB-4D9C-80CB-7990BEC3A416}" destId="{CAFB70B4-22E5-438B-A9F3-1527371AEDB4}" srcOrd="2" destOrd="0" presId="urn:microsoft.com/office/officeart/2008/layout/NameandTitleOrganizationalChart"/>
    <dgm:cxn modelId="{1E696751-97D4-473C-85C2-7618F52D6D20}" type="presParOf" srcId="{9C08ED19-08F9-4F2B-9B11-C6769763B209}" destId="{4536D794-D558-469C-80C6-BE277FB64AA0}" srcOrd="2" destOrd="0" presId="urn:microsoft.com/office/officeart/2008/layout/NameandTitleOrganizationalChart"/>
    <dgm:cxn modelId="{2F8EDB7B-2633-40ED-9EEB-9D5D3BAAF247}" type="presParOf" srcId="{E2918F03-D44C-4F98-9160-B91BA7DE94E0}" destId="{71E601DC-A0A1-450F-8973-D50A7888DA9D}" srcOrd="2" destOrd="0" presId="urn:microsoft.com/office/officeart/2008/layout/NameandTitleOrganizationalChar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5E156C3-DA9F-4154-9D8B-4F1A10508C49}">
      <dsp:nvSpPr>
        <dsp:cNvPr id="0" name=""/>
        <dsp:cNvSpPr/>
      </dsp:nvSpPr>
      <dsp:spPr>
        <a:xfrm>
          <a:off x="6462119" y="1856878"/>
          <a:ext cx="833644" cy="43602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67835"/>
              </a:lnTo>
              <a:lnTo>
                <a:pt x="833644" y="267835"/>
              </a:lnTo>
              <a:lnTo>
                <a:pt x="833644" y="436025"/>
              </a:lnTo>
            </a:path>
          </a:pathLst>
        </a:custGeom>
        <a:noFill/>
        <a:ln w="12700" cap="flat" cmpd="sng" algn="ctr">
          <a:solidFill>
            <a:schemeClr val="accent5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4C81E5B-69E3-4973-8CF8-6F1B88FDB92F}">
      <dsp:nvSpPr>
        <dsp:cNvPr id="0" name=""/>
        <dsp:cNvSpPr/>
      </dsp:nvSpPr>
      <dsp:spPr>
        <a:xfrm>
          <a:off x="5137518" y="2930239"/>
          <a:ext cx="91440" cy="449291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281102"/>
              </a:lnTo>
              <a:lnTo>
                <a:pt x="46137" y="281102"/>
              </a:lnTo>
              <a:lnTo>
                <a:pt x="46137" y="449291"/>
              </a:lnTo>
            </a:path>
          </a:pathLst>
        </a:custGeom>
        <a:noFill/>
        <a:ln w="12700" cap="flat" cmpd="sng" algn="ctr">
          <a:solidFill>
            <a:schemeClr val="accent5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3A54B54-58BB-4C2B-B2E1-3CDCCD09B8B7}">
      <dsp:nvSpPr>
        <dsp:cNvPr id="0" name=""/>
        <dsp:cNvSpPr/>
      </dsp:nvSpPr>
      <dsp:spPr>
        <a:xfrm>
          <a:off x="5183238" y="1856878"/>
          <a:ext cx="1278880" cy="418192"/>
        </a:xfrm>
        <a:custGeom>
          <a:avLst/>
          <a:gdLst/>
          <a:ahLst/>
          <a:cxnLst/>
          <a:rect l="0" t="0" r="0" b="0"/>
          <a:pathLst>
            <a:path>
              <a:moveTo>
                <a:pt x="1278880" y="0"/>
              </a:moveTo>
              <a:lnTo>
                <a:pt x="1278880" y="250002"/>
              </a:lnTo>
              <a:lnTo>
                <a:pt x="0" y="250002"/>
              </a:lnTo>
              <a:lnTo>
                <a:pt x="0" y="418192"/>
              </a:lnTo>
            </a:path>
          </a:pathLst>
        </a:custGeom>
        <a:noFill/>
        <a:ln w="12700" cap="flat" cmpd="sng" algn="ctr">
          <a:solidFill>
            <a:schemeClr val="accent5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5CE2C39-E274-4F64-9C33-866E4915C8E6}">
      <dsp:nvSpPr>
        <dsp:cNvPr id="0" name=""/>
        <dsp:cNvSpPr/>
      </dsp:nvSpPr>
      <dsp:spPr>
        <a:xfrm>
          <a:off x="3759453" y="721318"/>
          <a:ext cx="2702665" cy="41474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46557"/>
              </a:lnTo>
              <a:lnTo>
                <a:pt x="2702665" y="246557"/>
              </a:lnTo>
              <a:lnTo>
                <a:pt x="2702665" y="414746"/>
              </a:lnTo>
            </a:path>
          </a:pathLst>
        </a:custGeom>
        <a:noFill/>
        <a:ln w="12700" cap="flat" cmpd="sng" algn="ctr">
          <a:solidFill>
            <a:schemeClr val="accent5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4A52945-8F3B-4930-A296-846B850218D4}">
      <dsp:nvSpPr>
        <dsp:cNvPr id="0" name=""/>
        <dsp:cNvSpPr/>
      </dsp:nvSpPr>
      <dsp:spPr>
        <a:xfrm>
          <a:off x="3759453" y="721318"/>
          <a:ext cx="102882" cy="4134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45216"/>
              </a:lnTo>
              <a:lnTo>
                <a:pt x="102882" y="245216"/>
              </a:lnTo>
              <a:lnTo>
                <a:pt x="102882" y="413406"/>
              </a:lnTo>
            </a:path>
          </a:pathLst>
        </a:custGeom>
        <a:noFill/>
        <a:ln w="12700" cap="flat" cmpd="sng" algn="ctr">
          <a:solidFill>
            <a:schemeClr val="accent5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D34FA30-60B2-4BB5-9642-96F72D98C841}">
      <dsp:nvSpPr>
        <dsp:cNvPr id="0" name=""/>
        <dsp:cNvSpPr/>
      </dsp:nvSpPr>
      <dsp:spPr>
        <a:xfrm>
          <a:off x="1023584" y="721318"/>
          <a:ext cx="2735868" cy="416469"/>
        </a:xfrm>
        <a:custGeom>
          <a:avLst/>
          <a:gdLst/>
          <a:ahLst/>
          <a:cxnLst/>
          <a:rect l="0" t="0" r="0" b="0"/>
          <a:pathLst>
            <a:path>
              <a:moveTo>
                <a:pt x="2735868" y="0"/>
              </a:moveTo>
              <a:lnTo>
                <a:pt x="2735868" y="248279"/>
              </a:lnTo>
              <a:lnTo>
                <a:pt x="0" y="248279"/>
              </a:lnTo>
              <a:lnTo>
                <a:pt x="0" y="416469"/>
              </a:lnTo>
            </a:path>
          </a:pathLst>
        </a:custGeom>
        <a:noFill/>
        <a:ln w="12700" cap="flat" cmpd="sng" algn="ctr">
          <a:solidFill>
            <a:schemeClr val="accent5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E9EDB8F-2BB0-4ECA-8EE7-7552860071DE}">
      <dsp:nvSpPr>
        <dsp:cNvPr id="0" name=""/>
        <dsp:cNvSpPr/>
      </dsp:nvSpPr>
      <dsp:spPr>
        <a:xfrm>
          <a:off x="2361182" y="506"/>
          <a:ext cx="2796542" cy="720812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25400" rIns="25400" bIns="101715" numCol="1" spcCol="1270" anchor="ctr" anchorCtr="0">
          <a:noAutofit/>
        </a:bodyPr>
        <a:lstStyle/>
        <a:p>
          <a:pPr marL="0" lvl="0" indent="0" algn="r" defTabSz="1778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4000" kern="1200" dirty="0"/>
            <a:t>Projetos</a:t>
          </a:r>
        </a:p>
      </dsp:txBody>
      <dsp:txXfrm>
        <a:off x="2361182" y="506"/>
        <a:ext cx="2796542" cy="720812"/>
      </dsp:txXfrm>
    </dsp:sp>
    <dsp:sp modelId="{06510F17-B45C-48A4-9FEB-A8558F1E16F6}">
      <dsp:nvSpPr>
        <dsp:cNvPr id="0" name=""/>
        <dsp:cNvSpPr/>
      </dsp:nvSpPr>
      <dsp:spPr>
        <a:xfrm>
          <a:off x="4119852" y="557327"/>
          <a:ext cx="1252968" cy="24027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5560" tIns="8890" rIns="35560" bIns="8890" numCol="1" spcCol="1270" anchor="ctr" anchorCtr="0">
          <a:noAutofit/>
        </a:bodyPr>
        <a:lstStyle/>
        <a:p>
          <a:pPr marL="0" lvl="0" indent="0" algn="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1400" kern="1200" dirty="0"/>
            <a:t>Débora Roesler</a:t>
          </a:r>
        </a:p>
      </dsp:txBody>
      <dsp:txXfrm>
        <a:off x="4119852" y="557327"/>
        <a:ext cx="1252968" cy="240270"/>
      </dsp:txXfrm>
    </dsp:sp>
    <dsp:sp modelId="{145C744D-790D-4F4B-B1E8-FD4DD6B5B13E}">
      <dsp:nvSpPr>
        <dsp:cNvPr id="0" name=""/>
        <dsp:cNvSpPr/>
      </dsp:nvSpPr>
      <dsp:spPr>
        <a:xfrm>
          <a:off x="0" y="1137788"/>
          <a:ext cx="2047169" cy="720812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01715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2400" kern="1200" dirty="0"/>
            <a:t>BI</a:t>
          </a:r>
        </a:p>
      </dsp:txBody>
      <dsp:txXfrm>
        <a:off x="0" y="1137788"/>
        <a:ext cx="2047169" cy="720812"/>
      </dsp:txXfrm>
    </dsp:sp>
    <dsp:sp modelId="{13A5C22E-8377-49CC-A146-E3C9CA6EF264}">
      <dsp:nvSpPr>
        <dsp:cNvPr id="0" name=""/>
        <dsp:cNvSpPr/>
      </dsp:nvSpPr>
      <dsp:spPr>
        <a:xfrm>
          <a:off x="835645" y="1745275"/>
          <a:ext cx="1252968" cy="24027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7620" rIns="30480" bIns="7620" numCol="1" spcCol="1270" anchor="ctr" anchorCtr="0">
          <a:noAutofit/>
        </a:bodyPr>
        <a:lstStyle/>
        <a:p>
          <a:pPr marL="0" lvl="0" indent="0" algn="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1200" kern="1200" dirty="0"/>
            <a:t>Leonardo Zimmer</a:t>
          </a:r>
        </a:p>
      </dsp:txBody>
      <dsp:txXfrm>
        <a:off x="835645" y="1745275"/>
        <a:ext cx="1252968" cy="240270"/>
      </dsp:txXfrm>
    </dsp:sp>
    <dsp:sp modelId="{984006A5-F23F-4C33-8F1B-458D545ADE5F}">
      <dsp:nvSpPr>
        <dsp:cNvPr id="0" name=""/>
        <dsp:cNvSpPr/>
      </dsp:nvSpPr>
      <dsp:spPr>
        <a:xfrm>
          <a:off x="2838751" y="1134725"/>
          <a:ext cx="2047169" cy="720812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01715" numCol="1" spcCol="1270" anchor="ctr" anchorCtr="0">
          <a:noAutofit/>
        </a:bodyPr>
        <a:lstStyle/>
        <a:p>
          <a:pPr marL="0" lvl="0" indent="0" algn="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2400" kern="1200" dirty="0"/>
            <a:t>Homologação</a:t>
          </a:r>
        </a:p>
      </dsp:txBody>
      <dsp:txXfrm>
        <a:off x="2838751" y="1134725"/>
        <a:ext cx="2047169" cy="720812"/>
      </dsp:txXfrm>
    </dsp:sp>
    <dsp:sp modelId="{833B985C-321D-42B8-B066-B077970237AB}">
      <dsp:nvSpPr>
        <dsp:cNvPr id="0" name=""/>
        <dsp:cNvSpPr/>
      </dsp:nvSpPr>
      <dsp:spPr>
        <a:xfrm>
          <a:off x="3860926" y="1735283"/>
          <a:ext cx="1252968" cy="24027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3020" tIns="8255" rIns="33020" bIns="8255" numCol="1" spcCol="1270" anchor="ctr" anchorCtr="0">
          <a:noAutofit/>
        </a:bodyPr>
        <a:lstStyle/>
        <a:p>
          <a:pPr marL="0" lvl="0" indent="0" algn="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1300" kern="1200" dirty="0"/>
            <a:t>Danielle Cauduro	</a:t>
          </a:r>
        </a:p>
      </dsp:txBody>
      <dsp:txXfrm>
        <a:off x="3860926" y="1735283"/>
        <a:ext cx="1252968" cy="240270"/>
      </dsp:txXfrm>
    </dsp:sp>
    <dsp:sp modelId="{E62B4A5B-8CC5-4E24-A5BB-EB17C54A1C38}">
      <dsp:nvSpPr>
        <dsp:cNvPr id="0" name=""/>
        <dsp:cNvSpPr/>
      </dsp:nvSpPr>
      <dsp:spPr>
        <a:xfrm>
          <a:off x="5438534" y="1136065"/>
          <a:ext cx="2047169" cy="720812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01715" numCol="1" spcCol="1270" anchor="ctr" anchorCtr="0">
          <a:noAutofit/>
        </a:bodyPr>
        <a:lstStyle/>
        <a:p>
          <a:pPr marL="0" lvl="0" indent="0" algn="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2400" kern="1200" dirty="0"/>
            <a:t>Projetos</a:t>
          </a:r>
        </a:p>
      </dsp:txBody>
      <dsp:txXfrm>
        <a:off x="5438534" y="1136065"/>
        <a:ext cx="2047169" cy="720812"/>
      </dsp:txXfrm>
    </dsp:sp>
    <dsp:sp modelId="{8CC90AE8-1446-4B3F-B953-23F303967FA8}">
      <dsp:nvSpPr>
        <dsp:cNvPr id="0" name=""/>
        <dsp:cNvSpPr/>
      </dsp:nvSpPr>
      <dsp:spPr>
        <a:xfrm>
          <a:off x="6521193" y="1711878"/>
          <a:ext cx="1252968" cy="24027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5560" tIns="8890" rIns="35560" bIns="8890" numCol="1" spcCol="1270" anchor="ctr" anchorCtr="0">
          <a:noAutofit/>
        </a:bodyPr>
        <a:lstStyle/>
        <a:p>
          <a:pPr marL="0" lvl="0" indent="0" algn="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1400" kern="1200" dirty="0"/>
            <a:t>Leila Klevanskis</a:t>
          </a:r>
        </a:p>
      </dsp:txBody>
      <dsp:txXfrm>
        <a:off x="6521193" y="1711878"/>
        <a:ext cx="1252968" cy="240270"/>
      </dsp:txXfrm>
    </dsp:sp>
    <dsp:sp modelId="{62CA7B2B-0FD6-4E88-9707-6A82EE755791}">
      <dsp:nvSpPr>
        <dsp:cNvPr id="0" name=""/>
        <dsp:cNvSpPr/>
      </dsp:nvSpPr>
      <dsp:spPr>
        <a:xfrm>
          <a:off x="4437075" y="2275070"/>
          <a:ext cx="1492327" cy="655168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01715" numCol="1" spcCol="1270" anchor="ctr" anchorCtr="0">
          <a:noAutofit/>
        </a:bodyPr>
        <a:lstStyle/>
        <a:p>
          <a:pPr marL="0" lvl="0" indent="0" algn="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2000" kern="1200" dirty="0"/>
            <a:t>Arquitetura Negócios</a:t>
          </a:r>
        </a:p>
      </dsp:txBody>
      <dsp:txXfrm>
        <a:off x="4437075" y="2275070"/>
        <a:ext cx="1492327" cy="655168"/>
      </dsp:txXfrm>
    </dsp:sp>
    <dsp:sp modelId="{BF437B10-AF3F-4C64-8F74-4E134FD0C896}">
      <dsp:nvSpPr>
        <dsp:cNvPr id="0" name=""/>
        <dsp:cNvSpPr/>
      </dsp:nvSpPr>
      <dsp:spPr>
        <a:xfrm>
          <a:off x="4997344" y="2843674"/>
          <a:ext cx="1252968" cy="24027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8100" tIns="9525" rIns="38100" bIns="9525" numCol="1" spcCol="1270" anchor="ctr" anchorCtr="0">
          <a:noAutofit/>
        </a:bodyPr>
        <a:lstStyle/>
        <a:p>
          <a:pPr marL="0" lvl="0" indent="0" algn="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1500" kern="1200" dirty="0"/>
            <a:t>Patricia Dotte</a:t>
          </a:r>
        </a:p>
      </dsp:txBody>
      <dsp:txXfrm>
        <a:off x="4997344" y="2843674"/>
        <a:ext cx="1252968" cy="240270"/>
      </dsp:txXfrm>
    </dsp:sp>
    <dsp:sp modelId="{524198AD-C7CA-424F-AC0A-BE1F050E5D67}">
      <dsp:nvSpPr>
        <dsp:cNvPr id="0" name=""/>
        <dsp:cNvSpPr/>
      </dsp:nvSpPr>
      <dsp:spPr>
        <a:xfrm>
          <a:off x="4436657" y="3379531"/>
          <a:ext cx="1493997" cy="644976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01715" numCol="1" spcCol="1270" anchor="ctr" anchorCtr="0">
          <a:noAutofit/>
        </a:bodyPr>
        <a:lstStyle/>
        <a:p>
          <a:pPr marL="0" lvl="0" indent="0" algn="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2000" kern="1200" dirty="0"/>
            <a:t>Consultora</a:t>
          </a:r>
        </a:p>
      </dsp:txBody>
      <dsp:txXfrm>
        <a:off x="4436657" y="3379531"/>
        <a:ext cx="1493997" cy="644976"/>
      </dsp:txXfrm>
    </dsp:sp>
    <dsp:sp modelId="{89198D24-578D-452D-91AB-9D4B7FAC1C3B}">
      <dsp:nvSpPr>
        <dsp:cNvPr id="0" name=""/>
        <dsp:cNvSpPr/>
      </dsp:nvSpPr>
      <dsp:spPr>
        <a:xfrm>
          <a:off x="4875986" y="3902751"/>
          <a:ext cx="1252968" cy="24027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8100" tIns="9525" rIns="38100" bIns="9525" numCol="1" spcCol="1270" anchor="ctr" anchorCtr="0">
          <a:noAutofit/>
        </a:bodyPr>
        <a:lstStyle/>
        <a:p>
          <a:pPr marL="0" lvl="0" indent="0" algn="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1500" kern="1200" dirty="0"/>
            <a:t>Carolina Castro</a:t>
          </a:r>
        </a:p>
      </dsp:txBody>
      <dsp:txXfrm>
        <a:off x="4875986" y="3902751"/>
        <a:ext cx="1252968" cy="240270"/>
      </dsp:txXfrm>
    </dsp:sp>
    <dsp:sp modelId="{3865A9B9-B255-4CFC-B0D0-225E684EF599}">
      <dsp:nvSpPr>
        <dsp:cNvPr id="0" name=""/>
        <dsp:cNvSpPr/>
      </dsp:nvSpPr>
      <dsp:spPr>
        <a:xfrm>
          <a:off x="6548764" y="2292903"/>
          <a:ext cx="1493997" cy="654130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01715" numCol="1" spcCol="1270" anchor="ctr" anchorCtr="0">
          <a:noAutofit/>
        </a:bodyPr>
        <a:lstStyle/>
        <a:p>
          <a:pPr marL="0" lvl="0" indent="0" algn="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2000" kern="1200" dirty="0"/>
            <a:t>RTE</a:t>
          </a:r>
        </a:p>
      </dsp:txBody>
      <dsp:txXfrm>
        <a:off x="6548764" y="2292903"/>
        <a:ext cx="1493997" cy="654130"/>
      </dsp:txXfrm>
    </dsp:sp>
    <dsp:sp modelId="{707ABEC1-B21B-4DBD-85E8-A42543E691B1}">
      <dsp:nvSpPr>
        <dsp:cNvPr id="0" name=""/>
        <dsp:cNvSpPr/>
      </dsp:nvSpPr>
      <dsp:spPr>
        <a:xfrm>
          <a:off x="7139833" y="2867991"/>
          <a:ext cx="1061414" cy="24027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3020" tIns="8255" rIns="33020" bIns="8255" numCol="1" spcCol="1270" anchor="ctr" anchorCtr="0">
          <a:noAutofit/>
        </a:bodyPr>
        <a:lstStyle/>
        <a:p>
          <a:pPr marL="0" lvl="0" indent="0" algn="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1300" kern="1200" dirty="0"/>
            <a:t>Magda Godoy</a:t>
          </a:r>
        </a:p>
      </dsp:txBody>
      <dsp:txXfrm>
        <a:off x="7139833" y="2867991"/>
        <a:ext cx="1061414" cy="24027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NameandTitleOrganizationalChart">
  <dgm:title val=""/>
  <dgm:desc val=""/>
  <dgm:catLst>
    <dgm:cat type="hierarchy" pri="125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 fact="0.9"/>
                  <dgm:constr type="l" for="ch" forName="titleText1" refType="w" fact="0.2"/>
                  <dgm:constr type="t" for="ch" forName="titleText1" refType="h" fact="0.7"/>
                  <dgm:constr type="w" for="ch" forName="titleText1" refType="w" fact="0.9"/>
                  <dgm:constr type="h" for="ch" forName="titleText1" refType="h" fact="0.3"/>
                  <dgm:constr type="primFontSz" for="des" forName="titleText1" refType="primFontSz" refFor="des" refForName="rootText1" op="lte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 fact="0.9"/>
                  <dgm:constr type="l" for="ch" forName="titleText1" refType="w" fact="0.2"/>
                  <dgm:constr type="t" for="ch" forName="titleText1" refType="h" fact="0.7"/>
                  <dgm:constr type="w" for="ch" forName="titleText1" refType="w" fact="0.9"/>
                  <dgm:constr type="h" for="ch" forName="titleText1" refType="h" fact="0.3"/>
                  <dgm:constr type="primFontSz" for="des" forName="titleText1" refType="primFontSz" refFor="des" refForName="rootText1" op="lte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 fact="0.9"/>
                  <dgm:constr type="l" for="ch" forName="titleText1" refType="w" fact="0.2"/>
                  <dgm:constr type="t" for="ch" forName="titleText1" refType="h" fact="0.7"/>
                  <dgm:constr type="w" for="ch" forName="titleText1" refType="w" fact="0.9"/>
                  <dgm:constr type="h" for="ch" forName="titleText1" refType="h" fact="0.3"/>
                  <dgm:constr type="primFontSz" for="des" forName="titleText1" refType="primFontSz" refFor="des" refForName="rootText1" op="lte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 fact="0.9"/>
                  <dgm:constr type="l" for="ch" forName="titleText1" refType="w" fact="0.2"/>
                  <dgm:constr type="t" for="ch" forName="titleText1" refType="h" fact="0.7"/>
                  <dgm:constr type="w" for="ch" forName="titleText1" refType="w" fact="0.9"/>
                  <dgm:constr type="h" for="ch" forName="titleText1" refType="h" fact="0.3"/>
                  <dgm:constr type="primFontSz" for="des" forName="titleText1" refType="primFontSz" refFor="des" refForName="rootText1" op="lte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Max/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h" fact="0.4"/>
              </dgm:constrLst>
              <dgm:ruleLst>
                <dgm:rule type="primFontSz" val="5" fact="NaN" max="NaN"/>
              </dgm:ruleLst>
            </dgm:layoutNode>
            <dgm:layoutNode name="titleText1" styleLbl="fgAcc0">
              <dgm:varLst>
                <dgm:chMax val="0"/>
                <dgm:chPref val="0"/>
              </dgm:varLst>
              <dgm:alg type="tx">
                <dgm:param type="parTxLTRAlign" val="r"/>
              </dgm:alg>
              <dgm:shape xmlns:r="http://schemas.openxmlformats.org/officeDocument/2006/relationships" type="rect" r:blip="">
                <dgm:adjLst/>
              </dgm:shape>
              <dgm:presOf axis="followSib" ptType="sibTrans" hideLastTrans="0" cnt="1"/>
              <dgm:constrLst>
                <dgm:constr type="primFontSz" val="65"/>
                <dgm:constr type="lMarg" refType="primFontSz" fact="0.2"/>
                <dgm:constr type="rMarg" refType="primFontSz" fact="0.2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1" func="var" arg="hierBranch" op="equ" val="hang">
                    <dgm:layoutNode name="Name42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3">
                    <dgm:layoutNode name="Name44">
                      <dgm:choose name="Name45">
                        <dgm:if name="Name46" axis="self" func="depth" op="lte" val="2">
                          <dgm:choose name="Name47">
                            <dgm:if name="Name4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4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0">
                          <dgm:choose name="Name51">
                            <dgm:if name="Name52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3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54">
                  <dgm:if name="Name55" func="var" arg="hierBranch" op="equ" val="l">
                    <dgm:choose name="Name56">
                      <dgm:if name="Name57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58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59" func="var" arg="hierBranch" op="equ" val="r">
                    <dgm:choose name="Name60">
                      <dgm:if name="Name61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2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3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64" func="var" arg="hierBranch" op="equ" val="init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else name="Name65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66">
                    <dgm:if name="Name67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 fact="0.9"/>
                        <dgm:constr type="l" for="ch" forName="titleText2" refType="w" fact="0.2"/>
                        <dgm:constr type="t" for="ch" forName="titleText2" refType="h" fact="0.7"/>
                        <dgm:constr type="w" for="ch" forName="titleText2" refType="w" fact="0.9"/>
                        <dgm:constr type="h" for="ch" forName="titleText2" refType="h" fact="0.3"/>
                        <dgm:constr type="primFontSz" for="des" forName="titleText2" refType="primFontSz" refFor="des" refForName="rootText1" op="lte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68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 fact="0.9"/>
                        <dgm:constr type="l" for="ch" forName="titleText2" refType="w" fact="0.2"/>
                        <dgm:constr type="t" for="ch" forName="titleText2" refType="h" fact="0.7"/>
                        <dgm:constr type="w" for="ch" forName="titleText2" refType="w" fact="0.9"/>
                        <dgm:constr type="h" for="ch" forName="titleText2" refType="h" fact="0.3"/>
                        <dgm:constr type="primFontSz" for="des" forName="titleText2" refType="primFontSz" refFor="des" refForName="rootText1" op="lte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69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 fact="0.9"/>
                        <dgm:constr type="l" for="ch" forName="titleText2" refType="w" fact="0.2"/>
                        <dgm:constr type="t" for="ch" forName="titleText2" refType="h" fact="0.7"/>
                        <dgm:constr type="w" for="ch" forName="titleText2" refType="w" fact="0.9"/>
                        <dgm:constr type="h" for="ch" forName="titleText2" refType="h" fact="0.3"/>
                        <dgm:constr type="primFontSz" for="des" forName="titleText2" refType="primFontSz" refFor="des" refForName="rootText1" op="lte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70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 fact="0.9"/>
                        <dgm:constr type="l" for="ch" forName="titleText2" refType="w" fact="0.2"/>
                        <dgm:constr type="t" for="ch" forName="titleText2" refType="h" fact="0.7"/>
                        <dgm:constr type="w" for="ch" forName="titleText2" refType="w" fact="0.9"/>
                        <dgm:constr type="h" for="ch" forName="titleText2" refType="h" fact="0.3"/>
                        <dgm:constr type="primFontSz" for="des" forName="titleText2" refType="primFontSz" refFor="des" refForName="rootText1" op="lte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 styleLbl="node1">
                    <dgm:varLst>
                      <dgm:chMax/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h" fact="0.4"/>
                    </dgm:constrLst>
                    <dgm:ruleLst>
                      <dgm:rule type="primFontSz" val="5" fact="NaN" max="NaN"/>
                    </dgm:ruleLst>
                  </dgm:layoutNode>
                  <dgm:layoutNode name="titleText2" styleLbl="fgAcc1">
                    <dgm:varLst>
                      <dgm:chMax val="0"/>
                      <dgm:chPref val="0"/>
                    </dgm:varLst>
                    <dgm:alg type="tx">
                      <dgm:param type="parTxLTRAlign" val="r"/>
                    </dgm:alg>
                    <dgm:shape xmlns:r="http://schemas.openxmlformats.org/officeDocument/2006/relationships" type="rect" r:blip="">
                      <dgm:adjLst/>
                    </dgm:shape>
                    <dgm:presOf axis="followSib" ptType="sibTrans" hideLastTrans="0" cnt="1"/>
                    <dgm:constrLst>
                      <dgm:constr type="primFontSz" val="65"/>
                      <dgm:constr type="lMarg" refType="primFontSz" fact="0.2"/>
                      <dgm:constr type="rMarg" refType="primFontSz" fact="0.2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71">
                    <dgm:if name="Name72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73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74" func="var" arg="hierBranch" op="equ" val="hang">
                      <dgm:choose name="Name75">
                        <dgm:if name="Name76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77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78" func="var" arg="hierBranch" op="equ" val="std">
                      <dgm:choose name="Name79">
                        <dgm:if name="Name80" func="var" arg="dir" op="equ" val="norm">
                          <dgm:alg type="hierChild"/>
                        </dgm:if>
                        <dgm:else name="Name81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82" func="var" arg="hierBranch" op="equ" val="init">
                      <dgm:choose name="Name83">
                        <dgm:if name="Name84" func="var" arg="dir" op="equ" val="norm">
                          <dgm:alg type="hierChild"/>
                        </dgm:if>
                        <dgm:else name="Name85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else name="Name86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87" ref="rep2a"/>
                </dgm:layoutNode>
                <dgm:layoutNode name="hierChild5">
                  <dgm:choose name="Name88">
                    <dgm:if name="Name89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90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91" ref="rep2b"/>
                </dgm:layoutNode>
              </dgm:layoutNode>
            </dgm:forEach>
          </dgm:layoutNode>
          <dgm:layoutNode name="hierChild3">
            <dgm:choose name="Name92">
              <dgm:if name="Name93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94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95" axis="precedSib" ptType="parTrans" st="-1" cnt="1">
                <dgm:layoutNode name="Name96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97">
                  <dgm:if name="Name98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99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00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01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02" func="var" arg="hierBranch" op="equ" val="init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else name="Name103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04">
                    <dgm:if name="Name105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 fact="0.9"/>
                        <dgm:constr type="l" for="ch" forName="titleText3" refType="w" fact="0.2"/>
                        <dgm:constr type="t" for="ch" forName="titleText3" refType="h" fact="0.7"/>
                        <dgm:constr type="w" for="ch" forName="titleText3" refType="w" fact="0.9"/>
                        <dgm:constr type="h" for="ch" forName="titleText3" refType="h" fact="0.3"/>
                        <dgm:constr type="primFontSz" for="des" forName="titleText3" refType="primFontSz" refFor="des" refForName="rootText3" op="lte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06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 fact="0.9"/>
                        <dgm:constr type="l" for="ch" forName="titleText3" refType="w" fact="0.2"/>
                        <dgm:constr type="t" for="ch" forName="titleText3" refType="h" fact="0.7"/>
                        <dgm:constr type="w" for="ch" forName="titleText3" refType="w" fact="0.9"/>
                        <dgm:constr type="h" for="ch" forName="titleText3" refType="h" fact="0.3"/>
                        <dgm:constr type="primFontSz" for="des" forName="titleText3" refType="primFontSz" refFor="des" refForName="rootText3" op="lte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07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 fact="0.9"/>
                        <dgm:constr type="l" for="ch" forName="titleText3" refType="w" fact="0.2"/>
                        <dgm:constr type="t" for="ch" forName="titleText3" refType="h" fact="0.7"/>
                        <dgm:constr type="w" for="ch" forName="titleText3" refType="w" fact="0.9"/>
                        <dgm:constr type="h" for="ch" forName="titleText3" refType="h" fact="0.3"/>
                        <dgm:constr type="primFontSz" for="des" forName="titleText3" refType="primFontSz" refFor="des" refForName="rootText3" op="lte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08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 fact="0.9"/>
                        <dgm:constr type="l" for="ch" forName="titleText3" refType="w" fact="0.2"/>
                        <dgm:constr type="t" for="ch" forName="titleText3" refType="h" fact="0.7"/>
                        <dgm:constr type="w" for="ch" forName="titleText3" refType="w" fact="0.9"/>
                        <dgm:constr type="h" for="ch" forName="titleText3" refType="h" fact="0.3"/>
                        <dgm:constr type="primFontSz" for="des" forName="titleText3" refType="primFontSz" refFor="des" refForName="rootText3" op="lte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 styleLbl="asst1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h" fact="0.4"/>
                    </dgm:constrLst>
                    <dgm:ruleLst>
                      <dgm:rule type="primFontSz" val="5" fact="NaN" max="NaN"/>
                    </dgm:ruleLst>
                  </dgm:layoutNode>
                  <dgm:layoutNode name="titleText3" styleLbl="fgAcc2">
                    <dgm:varLst>
                      <dgm:chMax val="0"/>
                      <dgm:chPref val="0"/>
                    </dgm:varLst>
                    <dgm:alg type="tx">
                      <dgm:param type="parTxLTRAlign" val="r"/>
                    </dgm:alg>
                    <dgm:shape xmlns:r="http://schemas.openxmlformats.org/officeDocument/2006/relationships" type="rect" r:blip="">
                      <dgm:adjLst/>
                    </dgm:shape>
                    <dgm:presOf axis="followSib" ptType="sibTrans" hideLastTrans="0" cnt="1"/>
                    <dgm:constrLst>
                      <dgm:constr type="primFontSz" val="65"/>
                      <dgm:constr type="lMarg" refType="primFontSz" fact="0.2"/>
                      <dgm:constr type="rMarg" refType="primFontSz" fact="0.2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09">
                    <dgm:if name="Name110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11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12" func="var" arg="hierBranch" op="equ" val="hang">
                      <dgm:choose name="Name113">
                        <dgm:if name="Name114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15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16" func="var" arg="hierBranch" op="equ" val="std">
                      <dgm:choose name="Name117">
                        <dgm:if name="Name118" func="var" arg="dir" op="equ" val="norm">
                          <dgm:alg type="hierChild"/>
                        </dgm:if>
                        <dgm:else name="Name119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20" func="var" arg="hierBranch" op="equ" val="init">
                      <dgm:alg type="hierChild"/>
                    </dgm:if>
                    <dgm:else name="Name12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22" ref="rep2a"/>
                </dgm:layoutNode>
                <dgm:layoutNode name="hierChild7">
                  <dgm:choose name="Name123">
                    <dgm:if name="Name12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2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26" ref="rep2b"/>
                </dgm:layoutNode>
              </dgm:layoutNode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CF01BD6-766B-4D19-B75E-7E6A037A6BFB}" type="datetimeFigureOut">
              <a:rPr lang="en-US" smtClean="0"/>
              <a:t>5/14/20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31302AA-81B1-4225-BC36-6DD3E8E98722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8884487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98D3C34-4FAE-4634-9621-7C1A1531823B}" type="datetimeFigureOut">
              <a:rPr lang="en-US" smtClean="0"/>
              <a:t>5/14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A5D1758-ED3D-4611-B861-63A1DF032208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9045677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90357470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59844853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94728141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dirty="0"/>
              <a:t>Definir escopo do treinamento de agentes de mudança.</a:t>
            </a:r>
          </a:p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F1333B1-9F97-4EE8-990F-4A20679F5097}" type="slidenum">
              <a:rPr kumimoji="0" 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904693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6.xml"/></Relationships>
</file>

<file path=ppt/slideLayouts/_rels/slideLayout1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6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3.png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2.jpeg"/><Relationship Id="rId5" Type="http://schemas.openxmlformats.org/officeDocument/2006/relationships/image" Target="../media/image11.emf"/><Relationship Id="rId4" Type="http://schemas.openxmlformats.org/officeDocument/2006/relationships/oleObject" Target="../embeddings/oleObject3.bin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image" Target="../media/image17.emf"/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4.jpeg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emf"/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4.png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5.bin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4.png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6.bin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5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29.png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28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7.bin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6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6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6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6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6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6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6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6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6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6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6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6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6.xml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6.xml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6.xml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6.xml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6.xml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6.xml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6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">
    <p:bg>
      <p:bgPr>
        <a:solidFill>
          <a:srgbClr val="FCFCF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o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4" name="Slide do think-cell" r:id="rId4" imgW="421" imgH="423" progId="TCLayout.ActiveDocument.1">
                  <p:embed/>
                </p:oleObj>
              </mc:Choice>
              <mc:Fallback>
                <p:oleObj name="Slide do think-cell" r:id="rId4" imgW="421" imgH="423" progId="TCLayout.ActiveDocument.1">
                  <p:embed/>
                  <p:pic>
                    <p:nvPicPr>
                      <p:cNvPr id="5" name="Objeto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Imagem 3"/>
          <p:cNvPicPr>
            <a:picLocks noChangeAspect="1"/>
          </p:cNvPicPr>
          <p:nvPr userDrawn="1"/>
        </p:nvPicPr>
        <p:blipFill rotWithShape="1">
          <a:blip r:embed="rId6"/>
          <a:srcRect t="14910" b="1"/>
          <a:stretch/>
        </p:blipFill>
        <p:spPr>
          <a:xfrm>
            <a:off x="-1588" y="1"/>
            <a:ext cx="9144000" cy="5143500"/>
          </a:xfrm>
          <a:prstGeom prst="rect">
            <a:avLst/>
          </a:prstGeom>
          <a:effectLst>
            <a:glow>
              <a:schemeClr val="accent1">
                <a:alpha val="40000"/>
              </a:schemeClr>
            </a:glow>
          </a:effectLst>
        </p:spPr>
      </p:pic>
      <p:sp>
        <p:nvSpPr>
          <p:cNvPr id="16" name="Retângulo 15"/>
          <p:cNvSpPr/>
          <p:nvPr userDrawn="1"/>
        </p:nvSpPr>
        <p:spPr>
          <a:xfrm>
            <a:off x="-32586" y="0"/>
            <a:ext cx="9176586" cy="5153960"/>
          </a:xfrm>
          <a:prstGeom prst="rect">
            <a:avLst/>
          </a:prstGeom>
          <a:solidFill>
            <a:srgbClr val="2B2D42">
              <a:alpha val="60000"/>
            </a:srgbClr>
          </a:solidFill>
        </p:spPr>
        <p:txBody>
          <a:bodyPr wrap="square" rtlCol="0" anchor="ctr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pt-BR" sz="1400" dirty="0"/>
          </a:p>
        </p:txBody>
      </p:sp>
      <p:grpSp>
        <p:nvGrpSpPr>
          <p:cNvPr id="19" name="Grupo 18"/>
          <p:cNvGrpSpPr/>
          <p:nvPr userDrawn="1"/>
        </p:nvGrpSpPr>
        <p:grpSpPr>
          <a:xfrm>
            <a:off x="634925" y="563420"/>
            <a:ext cx="3571876" cy="2964640"/>
            <a:chOff x="634925" y="563420"/>
            <a:chExt cx="3571876" cy="2964640"/>
          </a:xfrm>
          <a:solidFill>
            <a:srgbClr val="EC0000"/>
          </a:solidFill>
        </p:grpSpPr>
        <p:sp>
          <p:nvSpPr>
            <p:cNvPr id="9" name="Retângulo 8"/>
            <p:cNvSpPr/>
            <p:nvPr userDrawn="1"/>
          </p:nvSpPr>
          <p:spPr>
            <a:xfrm>
              <a:off x="634925" y="563420"/>
              <a:ext cx="3571875" cy="2964640"/>
            </a:xfrm>
            <a:prstGeom prst="rect">
              <a:avLst/>
            </a:prstGeom>
            <a:grpFill/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10" name="Triângulo retângulo 9"/>
            <p:cNvSpPr/>
            <p:nvPr userDrawn="1"/>
          </p:nvSpPr>
          <p:spPr>
            <a:xfrm rot="10800000" flipH="1">
              <a:off x="878527" y="3138101"/>
              <a:ext cx="3328274" cy="264335"/>
            </a:xfrm>
            <a:prstGeom prst="rtTriangle">
              <a:avLst/>
            </a:prstGeom>
            <a:grpFill/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</p:grpSp>
      <p:cxnSp>
        <p:nvCxnSpPr>
          <p:cNvPr id="12" name="Straight Connector 11"/>
          <p:cNvCxnSpPr/>
          <p:nvPr userDrawn="1"/>
        </p:nvCxnSpPr>
        <p:spPr>
          <a:xfrm>
            <a:off x="931336" y="2159000"/>
            <a:ext cx="359996" cy="0"/>
          </a:xfrm>
          <a:prstGeom prst="line">
            <a:avLst/>
          </a:prstGeom>
          <a:ln w="6350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0" name="Text Placeholder 28"/>
          <p:cNvSpPr>
            <a:spLocks noGrp="1"/>
          </p:cNvSpPr>
          <p:nvPr>
            <p:ph type="body" sz="quarter" idx="10" hasCustomPrompt="1"/>
          </p:nvPr>
        </p:nvSpPr>
        <p:spPr>
          <a:xfrm>
            <a:off x="799638" y="713552"/>
            <a:ext cx="3247428" cy="1345966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2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BR" dirty="0"/>
              <a:t>Título da apresentação</a:t>
            </a:r>
            <a:r>
              <a:rPr lang="x-none" dirty="0"/>
              <a:t>– 24pt</a:t>
            </a:r>
            <a:endParaRPr lang="en-US" dirty="0"/>
          </a:p>
        </p:txBody>
      </p:sp>
      <p:sp>
        <p:nvSpPr>
          <p:cNvPr id="39" name="Text Placeholder 28"/>
          <p:cNvSpPr>
            <a:spLocks noGrp="1"/>
          </p:cNvSpPr>
          <p:nvPr>
            <p:ph type="body" sz="quarter" idx="14" hasCustomPrompt="1"/>
          </p:nvPr>
        </p:nvSpPr>
        <p:spPr>
          <a:xfrm>
            <a:off x="827860" y="2308534"/>
            <a:ext cx="3219207" cy="662271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1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BR" dirty="0"/>
              <a:t>Escreva aqui a descrição - ou informação da apresentação</a:t>
            </a:r>
            <a:r>
              <a:rPr lang="x-none" dirty="0"/>
              <a:t>– 11pt italic</a:t>
            </a:r>
            <a:endParaRPr lang="en-US" dirty="0"/>
          </a:p>
        </p:txBody>
      </p:sp>
      <p:sp>
        <p:nvSpPr>
          <p:cNvPr id="41" name="Text Placeholder 28"/>
          <p:cNvSpPr>
            <a:spLocks noGrp="1"/>
          </p:cNvSpPr>
          <p:nvPr>
            <p:ph type="body" sz="quarter" idx="15" hasCustomPrompt="1"/>
          </p:nvPr>
        </p:nvSpPr>
        <p:spPr>
          <a:xfrm>
            <a:off x="827860" y="2970805"/>
            <a:ext cx="2522971" cy="278448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000" b="1" i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BR" dirty="0"/>
              <a:t>Nome do responsável </a:t>
            </a:r>
            <a:r>
              <a:rPr lang="x-none" dirty="0"/>
              <a:t>– 10pt </a:t>
            </a:r>
            <a:r>
              <a:rPr lang="pt-BR" dirty="0"/>
              <a:t>Negrito</a:t>
            </a:r>
            <a:endParaRPr lang="en-US" dirty="0"/>
          </a:p>
        </p:txBody>
      </p:sp>
      <p:sp>
        <p:nvSpPr>
          <p:cNvPr id="43" name="Text Placeholder 28"/>
          <p:cNvSpPr>
            <a:spLocks noGrp="1"/>
          </p:cNvSpPr>
          <p:nvPr>
            <p:ph type="body" sz="quarter" idx="16" hasCustomPrompt="1"/>
          </p:nvPr>
        </p:nvSpPr>
        <p:spPr>
          <a:xfrm>
            <a:off x="827859" y="3149770"/>
            <a:ext cx="2182511" cy="26512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900" b="0" i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BR" dirty="0"/>
              <a:t>Departamento</a:t>
            </a:r>
            <a:r>
              <a:rPr lang="x-none" dirty="0"/>
              <a:t>/Area – 9pt</a:t>
            </a:r>
            <a:endParaRPr lang="en-US" dirty="0"/>
          </a:p>
        </p:txBody>
      </p:sp>
      <p:sp>
        <p:nvSpPr>
          <p:cNvPr id="11" name="Text Placeholder 28"/>
          <p:cNvSpPr>
            <a:spLocks noGrp="1"/>
          </p:cNvSpPr>
          <p:nvPr>
            <p:ph type="body" sz="quarter" idx="17" hasCustomPrompt="1"/>
          </p:nvPr>
        </p:nvSpPr>
        <p:spPr>
          <a:xfrm>
            <a:off x="3010371" y="3160370"/>
            <a:ext cx="1036695" cy="203217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900" b="0" i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BR" dirty="0" err="1"/>
              <a:t>dd</a:t>
            </a:r>
            <a:r>
              <a:rPr lang="x-none" dirty="0"/>
              <a:t>/</a:t>
            </a:r>
            <a:r>
              <a:rPr lang="pt-BR" dirty="0"/>
              <a:t>mm</a:t>
            </a:r>
            <a:r>
              <a:rPr lang="x-none" dirty="0"/>
              <a:t>/</a:t>
            </a:r>
            <a:r>
              <a:rPr lang="pt-BR" dirty="0"/>
              <a:t>aa</a:t>
            </a:r>
            <a:r>
              <a:rPr lang="x-none" dirty="0"/>
              <a:t> </a:t>
            </a:r>
            <a:br>
              <a:rPr lang="x-none" dirty="0"/>
            </a:br>
            <a:r>
              <a:rPr lang="x-none" dirty="0"/>
              <a:t>- 9pt</a:t>
            </a:r>
            <a:endParaRPr lang="en-US" dirty="0"/>
          </a:p>
        </p:txBody>
      </p:sp>
      <p:pic>
        <p:nvPicPr>
          <p:cNvPr id="6" name="Imagem 5"/>
          <p:cNvPicPr>
            <a:picLocks noChangeAspect="1"/>
          </p:cNvPicPr>
          <p:nvPr userDrawn="1"/>
        </p:nvPicPr>
        <p:blipFill>
          <a:blip r:embed="rId7">
            <a:clrChange>
              <a:clrFrom>
                <a:srgbClr val="231F20"/>
              </a:clrFrom>
              <a:clrTo>
                <a:srgbClr val="231F20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6891867" y="381450"/>
            <a:ext cx="1787676" cy="7173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96471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 advTm="3000"/>
    </mc:Choice>
    <mc:Fallback xmlns="">
      <p:transition advClick="0" advTm="3000"/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com foto na esquerda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4572000" cy="5143500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FontTx/>
              <a:buNone/>
              <a:defRPr sz="1000">
                <a:solidFill>
                  <a:schemeClr val="accent5"/>
                </a:solidFill>
                <a:latin typeface="Lato" panose="020F0502020204030203" pitchFamily="34" charset="0"/>
              </a:defRPr>
            </a:lvl1pPr>
          </a:lstStyle>
          <a:p>
            <a:endParaRPr lang="en-US"/>
          </a:p>
        </p:txBody>
      </p:sp>
      <p:pic>
        <p:nvPicPr>
          <p:cNvPr id="8" name="Imagem 7">
            <a:extLst>
              <a:ext uri="{FF2B5EF4-FFF2-40B4-BE49-F238E27FC236}">
                <a16:creationId xmlns:a16="http://schemas.microsoft.com/office/drawing/2014/main" id="{CD93093B-9C87-49BA-A36F-999EEAC7F4E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7127" y="4373217"/>
            <a:ext cx="716873" cy="7702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02707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extLst>
    <p:ext uri="{DCECCB84-F9BA-43D5-87BE-67443E8EF086}">
      <p15:sldGuideLst xmlns:p15="http://schemas.microsoft.com/office/powerpoint/2012/main">
        <p15:guide id="1" orient="horz" pos="2700">
          <p15:clr>
            <a:srgbClr val="FBAE40"/>
          </p15:clr>
        </p15:guide>
        <p15:guide id="2" pos="5384">
          <p15:clr>
            <a:srgbClr val="FBAE40"/>
          </p15:clr>
        </p15:guide>
        <p15:guide id="3" pos="374">
          <p15:clr>
            <a:srgbClr val="FBAE40"/>
          </p15:clr>
        </p15:guide>
        <p15:guide id="4" orient="horz" pos="306">
          <p15:clr>
            <a:srgbClr val="FBAE40"/>
          </p15:clr>
        </p15:guide>
        <p15:guide id="0" orient="horz" pos="972" userDrawn="1">
          <p15:clr>
            <a:srgbClr val="FBAE40"/>
          </p15:clr>
        </p15:guide>
      </p15:sldGuideLst>
    </p:ext>
  </p:extLs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ckup iPhone fundo branco 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89" y="185299"/>
            <a:ext cx="3129491" cy="4571407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3242734" y="575841"/>
            <a:ext cx="5294843" cy="383260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200" b="0" cap="all" spc="50" baseline="0">
                <a:solidFill>
                  <a:schemeClr val="accent1"/>
                </a:solidFill>
                <a:latin typeface="Lato Black" panose="020F0A02020204030203" pitchFamily="34" charset="0"/>
                <a:ea typeface="Roboto" panose="02000000000000000000" pitchFamily="2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 dirty="0"/>
              <a:t>Clique para </a:t>
            </a:r>
            <a:r>
              <a:rPr lang="en-US" dirty="0" err="1"/>
              <a:t>editar</a:t>
            </a:r>
            <a:r>
              <a:rPr lang="en-US" dirty="0"/>
              <a:t> o </a:t>
            </a:r>
            <a:r>
              <a:rPr lang="en-US" dirty="0" err="1"/>
              <a:t>título</a:t>
            </a:r>
            <a:endParaRPr lang="en-US" dirty="0"/>
          </a:p>
        </p:txBody>
      </p:sp>
      <p:sp>
        <p:nvSpPr>
          <p:cNvPr id="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242416" y="959101"/>
            <a:ext cx="5304684" cy="141344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ts val="1200"/>
              </a:lnSpc>
              <a:spcBef>
                <a:spcPts val="0"/>
              </a:spcBef>
              <a:buNone/>
              <a:defRPr sz="900" b="0" cap="none" spc="0" baseline="0">
                <a:solidFill>
                  <a:schemeClr val="accent4"/>
                </a:solidFill>
                <a:latin typeface="Lato" panose="020F0502020204030203" pitchFamily="34" charset="0"/>
                <a:ea typeface="Roboto" panose="02000000000000000000" pitchFamily="2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 dirty="0"/>
              <a:t>Clique para </a:t>
            </a:r>
            <a:r>
              <a:rPr lang="en-US" dirty="0" err="1"/>
              <a:t>editar</a:t>
            </a:r>
            <a:r>
              <a:rPr lang="en-US" dirty="0"/>
              <a:t> o </a:t>
            </a:r>
            <a:r>
              <a:rPr lang="en-US" dirty="0" err="1"/>
              <a:t>subtítulo</a:t>
            </a:r>
            <a:endParaRPr lang="en-US" dirty="0"/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3242416" y="492067"/>
            <a:ext cx="914400" cy="0"/>
          </a:xfrm>
          <a:prstGeom prst="line">
            <a:avLst/>
          </a:prstGeom>
          <a:ln w="28575">
            <a:solidFill>
              <a:srgbClr val="EC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Picture Placeholder 25"/>
          <p:cNvSpPr>
            <a:spLocks noGrp="1"/>
          </p:cNvSpPr>
          <p:nvPr>
            <p:ph type="pic" sz="quarter" idx="17"/>
          </p:nvPr>
        </p:nvSpPr>
        <p:spPr>
          <a:xfrm>
            <a:off x="800011" y="912452"/>
            <a:ext cx="1552896" cy="2917902"/>
          </a:xfrm>
          <a:custGeom>
            <a:avLst/>
            <a:gdLst>
              <a:gd name="connsiteX0" fmla="*/ 26656 w 4082023"/>
              <a:gd name="connsiteY0" fmla="*/ 0 h 7233920"/>
              <a:gd name="connsiteX1" fmla="*/ 4055367 w 4082023"/>
              <a:gd name="connsiteY1" fmla="*/ 0 h 7233920"/>
              <a:gd name="connsiteX2" fmla="*/ 4082023 w 4082023"/>
              <a:gd name="connsiteY2" fmla="*/ 26656 h 7233920"/>
              <a:gd name="connsiteX3" fmla="*/ 4082023 w 4082023"/>
              <a:gd name="connsiteY3" fmla="*/ 7207264 h 7233920"/>
              <a:gd name="connsiteX4" fmla="*/ 4055367 w 4082023"/>
              <a:gd name="connsiteY4" fmla="*/ 7233920 h 7233920"/>
              <a:gd name="connsiteX5" fmla="*/ 26656 w 4082023"/>
              <a:gd name="connsiteY5" fmla="*/ 7233920 h 7233920"/>
              <a:gd name="connsiteX6" fmla="*/ 0 w 4082023"/>
              <a:gd name="connsiteY6" fmla="*/ 7207264 h 7233920"/>
              <a:gd name="connsiteX7" fmla="*/ 0 w 4082023"/>
              <a:gd name="connsiteY7" fmla="*/ 26656 h 7233920"/>
              <a:gd name="connsiteX8" fmla="*/ 26656 w 4082023"/>
              <a:gd name="connsiteY8" fmla="*/ 0 h 72339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082023" h="7233920">
                <a:moveTo>
                  <a:pt x="26656" y="0"/>
                </a:moveTo>
                <a:lnTo>
                  <a:pt x="4055367" y="0"/>
                </a:lnTo>
                <a:cubicBezTo>
                  <a:pt x="4070091" y="0"/>
                  <a:pt x="4082023" y="11934"/>
                  <a:pt x="4082023" y="26656"/>
                </a:cubicBezTo>
                <a:lnTo>
                  <a:pt x="4082023" y="7207264"/>
                </a:lnTo>
                <a:cubicBezTo>
                  <a:pt x="4082023" y="7221986"/>
                  <a:pt x="4070091" y="7233920"/>
                  <a:pt x="4055367" y="7233920"/>
                </a:cubicBezTo>
                <a:lnTo>
                  <a:pt x="26656" y="7233920"/>
                </a:lnTo>
                <a:cubicBezTo>
                  <a:pt x="11934" y="7233920"/>
                  <a:pt x="0" y="7221986"/>
                  <a:pt x="0" y="7207264"/>
                </a:cubicBezTo>
                <a:lnTo>
                  <a:pt x="0" y="26656"/>
                </a:lnTo>
                <a:cubicBezTo>
                  <a:pt x="0" y="11934"/>
                  <a:pt x="11934" y="0"/>
                  <a:pt x="26656" y="0"/>
                </a:cubicBezTo>
                <a:close/>
              </a:path>
            </a:pathLst>
          </a:custGeom>
          <a:noFill/>
          <a:ln w="6350">
            <a:solidFill>
              <a:schemeClr val="accent1"/>
            </a:solidFill>
          </a:ln>
        </p:spPr>
        <p:txBody>
          <a:bodyPr wrap="square" lIns="0" tIns="0" rIns="0" bIns="0" anchor="ctr" anchorCtr="0">
            <a:noAutofit/>
          </a:bodyPr>
          <a:lstStyle>
            <a:lvl1pPr marL="0" indent="0" algn="ctr">
              <a:buFontTx/>
              <a:buNone/>
              <a:defRPr sz="800">
                <a:solidFill>
                  <a:schemeClr val="accent5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2" name="Imagem 11">
            <a:extLst>
              <a:ext uri="{FF2B5EF4-FFF2-40B4-BE49-F238E27FC236}">
                <a16:creationId xmlns:a16="http://schemas.microsoft.com/office/drawing/2014/main" id="{DDEDB86E-3636-444C-8775-501D1C3AB7D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7128" y="4373218"/>
            <a:ext cx="716873" cy="7702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79890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extLst>
    <p:ext uri="{DCECCB84-F9BA-43D5-87BE-67443E8EF086}">
      <p15:sldGuideLst xmlns:p15="http://schemas.microsoft.com/office/powerpoint/2012/main">
        <p15:guide id="1" orient="horz" pos="2700">
          <p15:clr>
            <a:srgbClr val="FBAE40"/>
          </p15:clr>
        </p15:guide>
        <p15:guide id="2" pos="5384">
          <p15:clr>
            <a:srgbClr val="FBAE40"/>
          </p15:clr>
        </p15:guide>
        <p15:guide id="3" pos="374">
          <p15:clr>
            <a:srgbClr val="FBAE40"/>
          </p15:clr>
        </p15:guide>
        <p15:guide id="4" orient="horz" pos="306">
          <p15:clr>
            <a:srgbClr val="FBAE40"/>
          </p15:clr>
        </p15:guide>
        <p15:guide id="5" orient="horz" pos="972">
          <p15:clr>
            <a:srgbClr val="FBAE40"/>
          </p15:clr>
        </p15:guide>
      </p15:sldGuideLst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sktop mockup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EC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584203" y="575841"/>
            <a:ext cx="7953374" cy="383260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200" b="0" cap="all" spc="50" baseline="0">
                <a:solidFill>
                  <a:schemeClr val="bg1"/>
                </a:solidFill>
                <a:latin typeface="Lato Black" panose="020F0A02020204030203" pitchFamily="34" charset="0"/>
                <a:ea typeface="Roboto" panose="02000000000000000000" pitchFamily="2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 dirty="0"/>
              <a:t>Clique para </a:t>
            </a:r>
            <a:r>
              <a:rPr lang="en-US" dirty="0" err="1"/>
              <a:t>editar</a:t>
            </a:r>
            <a:r>
              <a:rPr lang="en-US" dirty="0"/>
              <a:t> o </a:t>
            </a:r>
            <a:r>
              <a:rPr lang="en-US" dirty="0" err="1"/>
              <a:t>título</a:t>
            </a:r>
            <a:endParaRPr lang="en-US" dirty="0"/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593725" y="959101"/>
            <a:ext cx="7953374" cy="141344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ts val="1200"/>
              </a:lnSpc>
              <a:spcBef>
                <a:spcPts val="0"/>
              </a:spcBef>
              <a:buNone/>
              <a:defRPr sz="900" b="0" cap="none" spc="0" baseline="0">
                <a:solidFill>
                  <a:schemeClr val="bg1"/>
                </a:solidFill>
                <a:latin typeface="Lato" panose="020F0502020204030203" pitchFamily="34" charset="0"/>
                <a:ea typeface="Roboto" panose="02000000000000000000" pitchFamily="2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 dirty="0"/>
              <a:t>Clique para </a:t>
            </a:r>
            <a:r>
              <a:rPr lang="en-US" dirty="0" err="1"/>
              <a:t>editar</a:t>
            </a:r>
            <a:r>
              <a:rPr lang="en-US" dirty="0"/>
              <a:t> o </a:t>
            </a:r>
            <a:r>
              <a:rPr lang="en-US" dirty="0" err="1"/>
              <a:t>subtítulo</a:t>
            </a:r>
            <a:endParaRPr lang="en-US" dirty="0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593725" y="492067"/>
            <a:ext cx="914400" cy="0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Picture Placeholder 33"/>
          <p:cNvSpPr>
            <a:spLocks noGrp="1"/>
          </p:cNvSpPr>
          <p:nvPr>
            <p:ph type="pic" sz="quarter" idx="12"/>
          </p:nvPr>
        </p:nvSpPr>
        <p:spPr>
          <a:xfrm>
            <a:off x="1614488" y="1471671"/>
            <a:ext cx="5915025" cy="3186055"/>
          </a:xfrm>
          <a:custGeom>
            <a:avLst/>
            <a:gdLst>
              <a:gd name="connsiteX0" fmla="*/ 0 w 5915025"/>
              <a:gd name="connsiteY0" fmla="*/ 0 h 3326159"/>
              <a:gd name="connsiteX1" fmla="*/ 5915025 w 5915025"/>
              <a:gd name="connsiteY1" fmla="*/ 0 h 3326159"/>
              <a:gd name="connsiteX2" fmla="*/ 5915025 w 5915025"/>
              <a:gd name="connsiteY2" fmla="*/ 3326159 h 3326159"/>
              <a:gd name="connsiteX3" fmla="*/ 0 w 5915025"/>
              <a:gd name="connsiteY3" fmla="*/ 3326159 h 33261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915025" h="3326159">
                <a:moveTo>
                  <a:pt x="0" y="0"/>
                </a:moveTo>
                <a:lnTo>
                  <a:pt x="5915025" y="0"/>
                </a:lnTo>
                <a:lnTo>
                  <a:pt x="5915025" y="3326159"/>
                </a:lnTo>
                <a:lnTo>
                  <a:pt x="0" y="3326159"/>
                </a:lnTo>
                <a:close/>
              </a:path>
            </a:pathLst>
          </a:custGeom>
        </p:spPr>
        <p:txBody>
          <a:bodyPr wrap="square" anchor="ctr" anchorCtr="0">
            <a:noAutofit/>
          </a:bodyPr>
          <a:lstStyle>
            <a:lvl1pPr marL="0" indent="0" algn="ctr">
              <a:buFontTx/>
              <a:buNone/>
              <a:defRPr sz="1000">
                <a:solidFill>
                  <a:schemeClr val="accent6"/>
                </a:solidFill>
                <a:latin typeface="Lato" panose="020F0502020204030203" pitchFamily="34" charset="0"/>
              </a:defRPr>
            </a:lvl1pPr>
          </a:lstStyle>
          <a:p>
            <a:endParaRPr lang="en-US"/>
          </a:p>
        </p:txBody>
      </p:sp>
      <p:sp>
        <p:nvSpPr>
          <p:cNvPr id="21" name="Freeform 20"/>
          <p:cNvSpPr/>
          <p:nvPr userDrawn="1"/>
        </p:nvSpPr>
        <p:spPr>
          <a:xfrm>
            <a:off x="1614488" y="1318534"/>
            <a:ext cx="5915025" cy="156764"/>
          </a:xfrm>
          <a:custGeom>
            <a:avLst/>
            <a:gdLst>
              <a:gd name="connsiteX0" fmla="*/ 116359 w 15763003"/>
              <a:gd name="connsiteY0" fmla="*/ 0 h 418038"/>
              <a:gd name="connsiteX1" fmla="*/ 15646645 w 15763003"/>
              <a:gd name="connsiteY1" fmla="*/ 0 h 418038"/>
              <a:gd name="connsiteX2" fmla="*/ 15763003 w 15763003"/>
              <a:gd name="connsiteY2" fmla="*/ 116359 h 418038"/>
              <a:gd name="connsiteX3" fmla="*/ 15763003 w 15763003"/>
              <a:gd name="connsiteY3" fmla="*/ 418038 h 418038"/>
              <a:gd name="connsiteX4" fmla="*/ 0 w 15763003"/>
              <a:gd name="connsiteY4" fmla="*/ 418038 h 418038"/>
              <a:gd name="connsiteX5" fmla="*/ 0 w 15763003"/>
              <a:gd name="connsiteY5" fmla="*/ 116359 h 418038"/>
              <a:gd name="connsiteX6" fmla="*/ 116359 w 15763003"/>
              <a:gd name="connsiteY6" fmla="*/ 0 h 4180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763003" h="418038">
                <a:moveTo>
                  <a:pt x="116359" y="0"/>
                </a:moveTo>
                <a:lnTo>
                  <a:pt x="15646645" y="0"/>
                </a:lnTo>
                <a:cubicBezTo>
                  <a:pt x="15710907" y="0"/>
                  <a:pt x="15763003" y="52096"/>
                  <a:pt x="15763003" y="116359"/>
                </a:cubicBezTo>
                <a:lnTo>
                  <a:pt x="15763003" y="418038"/>
                </a:lnTo>
                <a:lnTo>
                  <a:pt x="0" y="418038"/>
                </a:lnTo>
                <a:lnTo>
                  <a:pt x="0" y="116359"/>
                </a:lnTo>
                <a:cubicBezTo>
                  <a:pt x="0" y="52096"/>
                  <a:pt x="52096" y="0"/>
                  <a:pt x="116359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6"/>
          </a:p>
        </p:txBody>
      </p:sp>
      <p:sp>
        <p:nvSpPr>
          <p:cNvPr id="22" name="Oval 21"/>
          <p:cNvSpPr/>
          <p:nvPr userDrawn="1"/>
        </p:nvSpPr>
        <p:spPr>
          <a:xfrm>
            <a:off x="1711525" y="1367662"/>
            <a:ext cx="54173" cy="54173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6"/>
          </a:p>
        </p:txBody>
      </p:sp>
      <p:sp>
        <p:nvSpPr>
          <p:cNvPr id="23" name="Oval 22"/>
          <p:cNvSpPr/>
          <p:nvPr userDrawn="1"/>
        </p:nvSpPr>
        <p:spPr>
          <a:xfrm>
            <a:off x="1806611" y="1367662"/>
            <a:ext cx="54173" cy="54173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6"/>
          </a:p>
        </p:txBody>
      </p:sp>
      <p:sp>
        <p:nvSpPr>
          <p:cNvPr id="24" name="Oval 23"/>
          <p:cNvSpPr/>
          <p:nvPr userDrawn="1"/>
        </p:nvSpPr>
        <p:spPr>
          <a:xfrm>
            <a:off x="1901698" y="1367662"/>
            <a:ext cx="54173" cy="54173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6"/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7154466" y="1366181"/>
            <a:ext cx="298052" cy="55653"/>
            <a:chOff x="19078575" y="3106739"/>
            <a:chExt cx="794804" cy="148407"/>
          </a:xfrm>
        </p:grpSpPr>
        <p:grpSp>
          <p:nvGrpSpPr>
            <p:cNvPr id="26" name="Group 25"/>
            <p:cNvGrpSpPr/>
            <p:nvPr/>
          </p:nvGrpSpPr>
          <p:grpSpPr>
            <a:xfrm>
              <a:off x="19736219" y="3106739"/>
              <a:ext cx="137160" cy="137160"/>
              <a:chOff x="19740165" y="3110684"/>
              <a:chExt cx="138113" cy="138113"/>
            </a:xfrm>
          </p:grpSpPr>
          <p:cxnSp>
            <p:nvCxnSpPr>
              <p:cNvPr id="29" name="Straight Connector 28"/>
              <p:cNvCxnSpPr/>
              <p:nvPr/>
            </p:nvCxnSpPr>
            <p:spPr>
              <a:xfrm>
                <a:off x="19740165" y="3110684"/>
                <a:ext cx="138113" cy="138113"/>
              </a:xfrm>
              <a:prstGeom prst="line">
                <a:avLst/>
              </a:prstGeom>
              <a:ln w="12700" cap="rnd">
                <a:solidFill>
                  <a:schemeClr val="bg1"/>
                </a:solidFill>
                <a:round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" name="Straight Connector 29"/>
              <p:cNvCxnSpPr/>
              <p:nvPr/>
            </p:nvCxnSpPr>
            <p:spPr>
              <a:xfrm flipV="1">
                <a:off x="19740165" y="3110684"/>
                <a:ext cx="138113" cy="138113"/>
              </a:xfrm>
              <a:prstGeom prst="line">
                <a:avLst/>
              </a:prstGeom>
              <a:ln w="12700" cap="rnd">
                <a:solidFill>
                  <a:schemeClr val="bg1"/>
                </a:solidFill>
                <a:round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7" name="Rounded Rectangle 26"/>
            <p:cNvSpPr/>
            <p:nvPr/>
          </p:nvSpPr>
          <p:spPr>
            <a:xfrm>
              <a:off x="19415125" y="3110684"/>
              <a:ext cx="144462" cy="144462"/>
            </a:xfrm>
            <a:prstGeom prst="roundRect">
              <a:avLst/>
            </a:prstGeom>
            <a:no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/>
            </a:p>
          </p:txBody>
        </p:sp>
        <p:cxnSp>
          <p:nvCxnSpPr>
            <p:cNvPr id="28" name="Straight Connector 27"/>
            <p:cNvCxnSpPr/>
            <p:nvPr/>
          </p:nvCxnSpPr>
          <p:spPr>
            <a:xfrm flipH="1">
              <a:off x="19078575" y="3255146"/>
              <a:ext cx="161925" cy="0"/>
            </a:xfrm>
            <a:prstGeom prst="line">
              <a:avLst/>
            </a:prstGeom>
            <a:ln w="12700" cap="rnd">
              <a:solidFill>
                <a:schemeClr val="bg1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6" name="Picture Placeholder 35"/>
          <p:cNvSpPr>
            <a:spLocks noGrp="1"/>
          </p:cNvSpPr>
          <p:nvPr>
            <p:ph type="pic" sz="quarter" idx="17"/>
          </p:nvPr>
        </p:nvSpPr>
        <p:spPr>
          <a:xfrm>
            <a:off x="5869461" y="2131215"/>
            <a:ext cx="1305324" cy="2409359"/>
          </a:xfrm>
          <a:custGeom>
            <a:avLst/>
            <a:gdLst>
              <a:gd name="connsiteX0" fmla="*/ 8541 w 1308021"/>
              <a:gd name="connsiteY0" fmla="*/ 0 h 2409359"/>
              <a:gd name="connsiteX1" fmla="*/ 1299480 w 1308021"/>
              <a:gd name="connsiteY1" fmla="*/ 0 h 2409359"/>
              <a:gd name="connsiteX2" fmla="*/ 1308021 w 1308021"/>
              <a:gd name="connsiteY2" fmla="*/ 8878 h 2409359"/>
              <a:gd name="connsiteX3" fmla="*/ 1308021 w 1308021"/>
              <a:gd name="connsiteY3" fmla="*/ 2400481 h 2409359"/>
              <a:gd name="connsiteX4" fmla="*/ 1299480 w 1308021"/>
              <a:gd name="connsiteY4" fmla="*/ 2409359 h 2409359"/>
              <a:gd name="connsiteX5" fmla="*/ 8541 w 1308021"/>
              <a:gd name="connsiteY5" fmla="*/ 2409359 h 2409359"/>
              <a:gd name="connsiteX6" fmla="*/ 0 w 1308021"/>
              <a:gd name="connsiteY6" fmla="*/ 2400481 h 2409359"/>
              <a:gd name="connsiteX7" fmla="*/ 0 w 1308021"/>
              <a:gd name="connsiteY7" fmla="*/ 8878 h 2409359"/>
              <a:gd name="connsiteX8" fmla="*/ 8541 w 1308021"/>
              <a:gd name="connsiteY8" fmla="*/ 0 h 2409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08021" h="2409359">
                <a:moveTo>
                  <a:pt x="8541" y="0"/>
                </a:moveTo>
                <a:lnTo>
                  <a:pt x="1299480" y="0"/>
                </a:lnTo>
                <a:cubicBezTo>
                  <a:pt x="1304198" y="0"/>
                  <a:pt x="1308021" y="3975"/>
                  <a:pt x="1308021" y="8878"/>
                </a:cubicBezTo>
                <a:lnTo>
                  <a:pt x="1308021" y="2400481"/>
                </a:lnTo>
                <a:cubicBezTo>
                  <a:pt x="1308021" y="2405384"/>
                  <a:pt x="1304198" y="2409359"/>
                  <a:pt x="1299480" y="2409359"/>
                </a:cubicBezTo>
                <a:lnTo>
                  <a:pt x="8541" y="2409359"/>
                </a:lnTo>
                <a:cubicBezTo>
                  <a:pt x="3824" y="2409359"/>
                  <a:pt x="0" y="2405384"/>
                  <a:pt x="0" y="2400481"/>
                </a:cubicBezTo>
                <a:lnTo>
                  <a:pt x="0" y="8878"/>
                </a:lnTo>
                <a:cubicBezTo>
                  <a:pt x="0" y="3975"/>
                  <a:pt x="3824" y="0"/>
                  <a:pt x="8541" y="0"/>
                </a:cubicBezTo>
                <a:close/>
              </a:path>
            </a:pathLst>
          </a:custGeom>
          <a:noFill/>
          <a:ln w="6350">
            <a:solidFill>
              <a:schemeClr val="accent1"/>
            </a:solidFill>
          </a:ln>
        </p:spPr>
        <p:txBody>
          <a:bodyPr wrap="square" lIns="0" tIns="0" rIns="0" bIns="0" anchor="ctr" anchorCtr="0">
            <a:noAutofit/>
          </a:bodyPr>
          <a:lstStyle>
            <a:lvl1pPr marL="0" indent="0" algn="ctr">
              <a:buFontTx/>
              <a:buNone/>
              <a:defRPr sz="800">
                <a:solidFill>
                  <a:schemeClr val="accent6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8" name="Imagem 17">
            <a:extLst>
              <a:ext uri="{FF2B5EF4-FFF2-40B4-BE49-F238E27FC236}">
                <a16:creationId xmlns:a16="http://schemas.microsoft.com/office/drawing/2014/main" id="{02FB0B3C-5976-4891-AA20-21AB526312C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7127" y="4373218"/>
            <a:ext cx="716873" cy="7702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96823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extLst>
    <p:ext uri="{DCECCB84-F9BA-43D5-87BE-67443E8EF086}">
      <p15:sldGuideLst xmlns:p15="http://schemas.microsoft.com/office/powerpoint/2012/main">
        <p15:guide id="1" orient="horz" pos="2934">
          <p15:clr>
            <a:srgbClr val="FBAE40"/>
          </p15:clr>
        </p15:guide>
        <p15:guide id="2" pos="5384">
          <p15:clr>
            <a:srgbClr val="FBAE40"/>
          </p15:clr>
        </p15:guide>
        <p15:guide id="3" pos="374">
          <p15:clr>
            <a:srgbClr val="FBAE40"/>
          </p15:clr>
        </p15:guide>
        <p15:guide id="4" orient="horz" pos="306">
          <p15:clr>
            <a:srgbClr val="FBAE40"/>
          </p15:clr>
        </p15:guide>
        <p15:guide id="5" orient="horz" pos="972">
          <p15:clr>
            <a:srgbClr val="FBAE40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tebook mockup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/>
          <p:cNvSpPr/>
          <p:nvPr userDrawn="1"/>
        </p:nvSpPr>
        <p:spPr>
          <a:xfrm>
            <a:off x="595315" y="1934634"/>
            <a:ext cx="7953374" cy="1872580"/>
          </a:xfrm>
          <a:prstGeom prst="rect">
            <a:avLst/>
          </a:prstGeom>
          <a:solidFill>
            <a:srgbClr val="EC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61536" y="1432136"/>
            <a:ext cx="5027326" cy="3049841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584203" y="575841"/>
            <a:ext cx="7953374" cy="383260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200" b="0" cap="all" spc="50" baseline="0">
                <a:solidFill>
                  <a:schemeClr val="accent1"/>
                </a:solidFill>
                <a:latin typeface="Lato Black" panose="020F0A02020204030203" pitchFamily="34" charset="0"/>
                <a:ea typeface="Roboto" panose="02000000000000000000" pitchFamily="2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593725" y="959101"/>
            <a:ext cx="7953374" cy="141344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ts val="1200"/>
              </a:lnSpc>
              <a:spcBef>
                <a:spcPts val="0"/>
              </a:spcBef>
              <a:buNone/>
              <a:defRPr sz="900" b="0" cap="none" spc="0" baseline="0">
                <a:solidFill>
                  <a:schemeClr val="accent4"/>
                </a:solidFill>
                <a:latin typeface="Lato" panose="020F0502020204030203" pitchFamily="34" charset="0"/>
                <a:ea typeface="Roboto" panose="02000000000000000000" pitchFamily="2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593725" y="492067"/>
            <a:ext cx="914400" cy="0"/>
          </a:xfrm>
          <a:prstGeom prst="line">
            <a:avLst/>
          </a:prstGeom>
          <a:ln w="28575">
            <a:solidFill>
              <a:srgbClr val="EC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1957512" y="1714500"/>
            <a:ext cx="3635375" cy="2324100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FontTx/>
              <a:buNone/>
              <a:defRPr sz="800">
                <a:solidFill>
                  <a:schemeClr val="accent5"/>
                </a:solidFill>
                <a:latin typeface="Lato" panose="020F0502020204030203" pitchFamily="34" charset="0"/>
              </a:defRPr>
            </a:lvl1pPr>
          </a:lstStyle>
          <a:p>
            <a:endParaRPr lang="en-US"/>
          </a:p>
        </p:txBody>
      </p:sp>
      <p:pic>
        <p:nvPicPr>
          <p:cNvPr id="15" name="Imagem 14">
            <a:extLst>
              <a:ext uri="{FF2B5EF4-FFF2-40B4-BE49-F238E27FC236}">
                <a16:creationId xmlns:a16="http://schemas.microsoft.com/office/drawing/2014/main" id="{51E8431B-E590-40DF-8220-A7B5CB823DF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7128" y="4373218"/>
            <a:ext cx="716873" cy="7702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41491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extLst>
    <p:ext uri="{DCECCB84-F9BA-43D5-87BE-67443E8EF086}">
      <p15:sldGuideLst xmlns:p15="http://schemas.microsoft.com/office/powerpoint/2012/main">
        <p15:guide id="1" orient="horz" pos="2700">
          <p15:clr>
            <a:srgbClr val="FBAE40"/>
          </p15:clr>
        </p15:guide>
        <p15:guide id="2" pos="5384">
          <p15:clr>
            <a:srgbClr val="FBAE40"/>
          </p15:clr>
        </p15:guide>
        <p15:guide id="3" pos="374">
          <p15:clr>
            <a:srgbClr val="FBAE40"/>
          </p15:clr>
        </p15:guide>
        <p15:guide id="4" orient="horz" pos="306">
          <p15:clr>
            <a:srgbClr val="FBAE40"/>
          </p15:clr>
        </p15:guide>
        <p15:guide id="5" orient="horz" pos="972">
          <p15:clr>
            <a:srgbClr val="FBAE40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A99EA1E2-23FB-42AA-8E92-C3C37774E3A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952B922C-F460-4E1E-9352-CB7BDC2F53D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7CFB928F-0240-4D1D-9A70-D8F8CD0FD59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6B61EE94-A7CB-48B7-B4BC-94974459741B}" type="datetimeFigureOut">
              <a:rPr lang="pt-BR" smtClean="0">
                <a:solidFill>
                  <a:prstClr val="black"/>
                </a:solidFill>
              </a:rPr>
              <a:pPr>
                <a:defRPr/>
              </a:pPr>
              <a:t>14/05/2020</a:t>
            </a:fld>
            <a:endParaRPr lang="pt-BR">
              <a:solidFill>
                <a:prstClr val="black"/>
              </a:solidFill>
            </a:endParaRPr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60B53843-169B-43D3-8157-453C231FF4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pt-BR">
              <a:solidFill>
                <a:prstClr val="black"/>
              </a:solidFill>
            </a:endParaRPr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A5D2AE48-D0F6-4779-A6D7-F572811191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76B252E4-7C6B-42A4-BD98-008844C251DD}" type="slidenum">
              <a:rPr lang="pt-BR" smtClean="0">
                <a:solidFill>
                  <a:prstClr val="black"/>
                </a:solidFill>
              </a:rPr>
              <a:pPr>
                <a:defRPr/>
              </a:pPr>
              <a:t>‹nº›</a:t>
            </a:fld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25291179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ítulo 25"/>
          <p:cNvSpPr txBox="1">
            <a:spLocks/>
          </p:cNvSpPr>
          <p:nvPr userDrawn="1"/>
        </p:nvSpPr>
        <p:spPr>
          <a:xfrm>
            <a:off x="45884" y="10284"/>
            <a:ext cx="6470333" cy="64807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endParaRPr lang="pt-BR" sz="2800" dirty="0">
              <a:solidFill>
                <a:schemeClr val="bg1"/>
              </a:solidFill>
              <a:latin typeface="Tw Cen MT Condensed" panose="020B06060201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26525335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Foto -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Imagem"/>
          <p:cNvSpPr>
            <a:spLocks noGrp="1"/>
          </p:cNvSpPr>
          <p:nvPr>
            <p:ph type="pic" idx="13"/>
          </p:nvPr>
        </p:nvSpPr>
        <p:spPr>
          <a:xfrm>
            <a:off x="1143000" y="354955"/>
            <a:ext cx="6858000" cy="3114229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/>
          <a:p>
            <a:endParaRPr/>
          </a:p>
        </p:txBody>
      </p:sp>
      <p:sp>
        <p:nvSpPr>
          <p:cNvPr id="21" name="Texto do Título"/>
          <p:cNvSpPr txBox="1">
            <a:spLocks noGrp="1"/>
          </p:cNvSpPr>
          <p:nvPr>
            <p:ph type="title"/>
          </p:nvPr>
        </p:nvSpPr>
        <p:spPr>
          <a:xfrm>
            <a:off x="892969" y="3542854"/>
            <a:ext cx="7358063" cy="750094"/>
          </a:xfrm>
          <a:prstGeom prst="rect">
            <a:avLst/>
          </a:prstGeom>
        </p:spPr>
        <p:txBody>
          <a:bodyPr anchor="b"/>
          <a:lstStyle/>
          <a:p>
            <a:r>
              <a:t>Texto do Título</a:t>
            </a:r>
          </a:p>
        </p:txBody>
      </p:sp>
      <p:sp>
        <p:nvSpPr>
          <p:cNvPr id="22" name="Nível de Corpo Um…"/>
          <p:cNvSpPr txBox="1">
            <a:spLocks noGrp="1"/>
          </p:cNvSpPr>
          <p:nvPr>
            <p:ph type="body" sz="quarter" idx="1"/>
          </p:nvPr>
        </p:nvSpPr>
        <p:spPr>
          <a:xfrm>
            <a:off x="892969" y="4299644"/>
            <a:ext cx="7358063" cy="596057"/>
          </a:xfrm>
          <a:prstGeom prst="rect">
            <a:avLst/>
          </a:prstGeom>
        </p:spPr>
        <p:txBody>
          <a:bodyPr anchor="t"/>
          <a:lstStyle>
            <a:lvl1pPr marL="0" indent="0" algn="ctr">
              <a:spcBef>
                <a:spcPts val="0"/>
              </a:spcBef>
              <a:buSzTx/>
              <a:buNone/>
              <a:defRPr sz="1951"/>
            </a:lvl1pPr>
            <a:lvl2pPr marL="0" indent="0" algn="ctr">
              <a:spcBef>
                <a:spcPts val="0"/>
              </a:spcBef>
              <a:buSzTx/>
              <a:buNone/>
              <a:defRPr sz="1951"/>
            </a:lvl2pPr>
            <a:lvl3pPr marL="0" indent="0" algn="ctr">
              <a:spcBef>
                <a:spcPts val="0"/>
              </a:spcBef>
              <a:buSzTx/>
              <a:buNone/>
              <a:defRPr sz="1951"/>
            </a:lvl3pPr>
            <a:lvl4pPr marL="0" indent="0" algn="ctr">
              <a:spcBef>
                <a:spcPts val="0"/>
              </a:spcBef>
              <a:buSzTx/>
              <a:buNone/>
              <a:defRPr sz="1951"/>
            </a:lvl4pPr>
            <a:lvl5pPr marL="0" indent="0" algn="ctr">
              <a:spcBef>
                <a:spcPts val="0"/>
              </a:spcBef>
              <a:buSzTx/>
              <a:buNone/>
              <a:defRPr sz="1951"/>
            </a:lvl5pPr>
          </a:lstStyle>
          <a:p>
            <a:r>
              <a:t>Nível de Corpo Um</a:t>
            </a:r>
          </a:p>
          <a:p>
            <a:pPr lvl="1"/>
            <a:r>
              <a:t>Nível de Corpo Dois</a:t>
            </a:r>
          </a:p>
          <a:p>
            <a:pPr lvl="2"/>
            <a:r>
              <a:t>Nível de Corpo Três</a:t>
            </a:r>
          </a:p>
          <a:p>
            <a:pPr lvl="3"/>
            <a:r>
              <a:t>Nível de Corpo Quatro</a:t>
            </a:r>
          </a:p>
          <a:p>
            <a:pPr lvl="4"/>
            <a:r>
              <a:t>Nível de Corpo Cinco</a:t>
            </a:r>
          </a:p>
        </p:txBody>
      </p:sp>
      <p:sp>
        <p:nvSpPr>
          <p:cNvPr id="23" name="Número do Slide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º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502390866"/>
      </p:ext>
    </p:extLst>
  </p:cSld>
  <p:clrMapOvr>
    <a:masterClrMapping/>
  </p:clrMapOvr>
  <p:transition spd="med"/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B3B8763-276E-4CE4-8239-04A343522177}" type="datetimeFigureOut">
              <a:rPr lang="pt-BR" smtClean="0"/>
              <a:t>14/05/2020</a:t>
            </a:fld>
            <a:endParaRPr lang="pt-BR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C033B1-845A-4C06-9834-8FA9ECFBD22C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91414233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com foto na direit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4572001" y="0"/>
            <a:ext cx="4572000" cy="5143500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FontTx/>
              <a:buNone/>
              <a:defRPr sz="1000">
                <a:solidFill>
                  <a:schemeClr val="accent5"/>
                </a:solidFill>
                <a:latin typeface="Lato" panose="020F0502020204030203" pitchFamily="34" charset="0"/>
              </a:defRPr>
            </a:lvl1pPr>
          </a:lstStyle>
          <a:p>
            <a:endParaRPr lang="en-US"/>
          </a:p>
        </p:txBody>
      </p:sp>
      <p:pic>
        <p:nvPicPr>
          <p:cNvPr id="5" name="Imagem 4">
            <a:extLst>
              <a:ext uri="{FF2B5EF4-FFF2-40B4-BE49-F238E27FC236}">
                <a16:creationId xmlns:a16="http://schemas.microsoft.com/office/drawing/2014/main" id="{2AAC6521-B7C5-4C4F-A7E2-361FAD0A33D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373217"/>
            <a:ext cx="716873" cy="7702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37488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extLst>
    <p:ext uri="{DCECCB84-F9BA-43D5-87BE-67443E8EF086}">
      <p15:sldGuideLst xmlns:p15="http://schemas.microsoft.com/office/powerpoint/2012/main">
        <p15:guide id="1" orient="horz" pos="2700">
          <p15:clr>
            <a:srgbClr val="FBAE40"/>
          </p15:clr>
        </p15:guide>
        <p15:guide id="2" pos="5384">
          <p15:clr>
            <a:srgbClr val="FBAE40"/>
          </p15:clr>
        </p15:guide>
        <p15:guide id="3" pos="374">
          <p15:clr>
            <a:srgbClr val="FBAE40"/>
          </p15:clr>
        </p15:guide>
        <p15:guide id="4" orient="horz" pos="306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com título e duas foto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584202" y="575841"/>
            <a:ext cx="7953374" cy="383260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200" b="0" cap="all" spc="50" baseline="0">
                <a:solidFill>
                  <a:schemeClr val="accent1"/>
                </a:solidFill>
                <a:latin typeface="Lato Black" panose="020F0A02020204030203" pitchFamily="34" charset="0"/>
                <a:ea typeface="Roboto" panose="02000000000000000000" pitchFamily="2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 dirty="0"/>
              <a:t>Clique para </a:t>
            </a:r>
            <a:r>
              <a:rPr lang="en-US" dirty="0" err="1"/>
              <a:t>editar</a:t>
            </a:r>
            <a:r>
              <a:rPr lang="en-US" dirty="0"/>
              <a:t> o </a:t>
            </a:r>
            <a:r>
              <a:rPr lang="en-US" dirty="0" err="1"/>
              <a:t>título</a:t>
            </a:r>
            <a:endParaRPr lang="en-US" dirty="0"/>
          </a:p>
        </p:txBody>
      </p:sp>
      <p:sp>
        <p:nvSpPr>
          <p:cNvPr id="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593725" y="959101"/>
            <a:ext cx="7953374" cy="141344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ts val="1200"/>
              </a:lnSpc>
              <a:spcBef>
                <a:spcPts val="0"/>
              </a:spcBef>
              <a:buNone/>
              <a:defRPr sz="900" b="0" cap="none" spc="0" baseline="0">
                <a:solidFill>
                  <a:schemeClr val="accent4"/>
                </a:solidFill>
                <a:latin typeface="Lato" panose="020F0502020204030203" pitchFamily="34" charset="0"/>
                <a:ea typeface="Roboto" panose="02000000000000000000" pitchFamily="2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 dirty="0"/>
              <a:t>Clique para </a:t>
            </a:r>
            <a:r>
              <a:rPr lang="en-US" dirty="0" err="1"/>
              <a:t>editar</a:t>
            </a:r>
            <a:r>
              <a:rPr lang="en-US" dirty="0"/>
              <a:t> o </a:t>
            </a:r>
            <a:r>
              <a:rPr lang="en-US" dirty="0" err="1"/>
              <a:t>subtítulo</a:t>
            </a:r>
            <a:endParaRPr lang="en-US" dirty="0"/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593725" y="492067"/>
            <a:ext cx="914400" cy="0"/>
          </a:xfrm>
          <a:prstGeom prst="line">
            <a:avLst/>
          </a:prstGeom>
          <a:ln w="28575">
            <a:solidFill>
              <a:srgbClr val="EC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593724" y="1543050"/>
            <a:ext cx="3821113" cy="2743200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FontTx/>
              <a:buNone/>
              <a:defRPr sz="1000">
                <a:solidFill>
                  <a:schemeClr val="accent5"/>
                </a:solidFill>
                <a:latin typeface="Lato" panose="020F0502020204030203" pitchFamily="34" charset="0"/>
              </a:defRPr>
            </a:lvl1pPr>
          </a:lstStyle>
          <a:p>
            <a:endParaRPr lang="en-US"/>
          </a:p>
        </p:txBody>
      </p:sp>
      <p:sp>
        <p:nvSpPr>
          <p:cNvPr id="20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4725986" y="1543050"/>
            <a:ext cx="3821113" cy="2743200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FontTx/>
              <a:buNone/>
              <a:defRPr sz="1000">
                <a:solidFill>
                  <a:schemeClr val="accent5"/>
                </a:solidFill>
                <a:latin typeface="Lato" panose="020F0502020204030203" pitchFamily="34" charset="0"/>
              </a:defRPr>
            </a:lvl1pPr>
          </a:lstStyle>
          <a:p>
            <a:endParaRPr lang="en-US"/>
          </a:p>
        </p:txBody>
      </p:sp>
      <p:pic>
        <p:nvPicPr>
          <p:cNvPr id="13" name="Imagem 12">
            <a:extLst>
              <a:ext uri="{FF2B5EF4-FFF2-40B4-BE49-F238E27FC236}">
                <a16:creationId xmlns:a16="http://schemas.microsoft.com/office/drawing/2014/main" id="{A50785E9-16F5-40C8-8FE9-9EFCC4A62DE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7127" y="4373217"/>
            <a:ext cx="716873" cy="7702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05581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extLst>
    <p:ext uri="{DCECCB84-F9BA-43D5-87BE-67443E8EF086}">
      <p15:sldGuideLst xmlns:p15="http://schemas.microsoft.com/office/powerpoint/2012/main">
        <p15:guide id="1" orient="horz" pos="2700">
          <p15:clr>
            <a:srgbClr val="FBAE40"/>
          </p15:clr>
        </p15:guide>
        <p15:guide id="2" pos="5384">
          <p15:clr>
            <a:srgbClr val="FBAE40"/>
          </p15:clr>
        </p15:guide>
        <p15:guide id="3" pos="374">
          <p15:clr>
            <a:srgbClr val="FBAE40"/>
          </p15:clr>
        </p15:guide>
        <p15:guide id="4" orient="horz" pos="306">
          <p15:clr>
            <a:srgbClr val="FBAE40"/>
          </p15:clr>
        </p15:guide>
        <p15:guide id="5" orient="horz" pos="972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com 3 foto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584202" y="575841"/>
            <a:ext cx="7953374" cy="383260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200" b="0" cap="all" spc="50" baseline="0">
                <a:solidFill>
                  <a:schemeClr val="accent1"/>
                </a:solidFill>
                <a:latin typeface="Lato Black" panose="020F0A02020204030203" pitchFamily="34" charset="0"/>
                <a:ea typeface="Roboto" panose="02000000000000000000" pitchFamily="2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 dirty="0"/>
              <a:t>Clique para </a:t>
            </a:r>
            <a:r>
              <a:rPr lang="en-US" dirty="0" err="1"/>
              <a:t>editar</a:t>
            </a:r>
            <a:r>
              <a:rPr lang="en-US" dirty="0"/>
              <a:t> o </a:t>
            </a:r>
            <a:r>
              <a:rPr lang="en-US" dirty="0" err="1"/>
              <a:t>título</a:t>
            </a:r>
            <a:endParaRPr lang="en-US" dirty="0"/>
          </a:p>
        </p:txBody>
      </p:sp>
      <p:sp>
        <p:nvSpPr>
          <p:cNvPr id="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593725" y="959101"/>
            <a:ext cx="7953374" cy="141344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ts val="1200"/>
              </a:lnSpc>
              <a:spcBef>
                <a:spcPts val="0"/>
              </a:spcBef>
              <a:buNone/>
              <a:defRPr sz="900" b="0" cap="none" spc="0" baseline="0">
                <a:solidFill>
                  <a:schemeClr val="accent4"/>
                </a:solidFill>
                <a:latin typeface="Lato" panose="020F0502020204030203" pitchFamily="34" charset="0"/>
                <a:ea typeface="Roboto" panose="02000000000000000000" pitchFamily="2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 dirty="0"/>
              <a:t>Clique para </a:t>
            </a:r>
            <a:r>
              <a:rPr lang="en-US" dirty="0" err="1"/>
              <a:t>editar</a:t>
            </a:r>
            <a:r>
              <a:rPr lang="en-US" dirty="0"/>
              <a:t> o </a:t>
            </a:r>
            <a:r>
              <a:rPr lang="en-US" dirty="0" err="1"/>
              <a:t>subtítulo</a:t>
            </a:r>
            <a:endParaRPr lang="en-US" dirty="0"/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593725" y="492067"/>
            <a:ext cx="914400" cy="0"/>
          </a:xfrm>
          <a:prstGeom prst="line">
            <a:avLst/>
          </a:prstGeom>
          <a:ln w="28575">
            <a:solidFill>
              <a:srgbClr val="EC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593725" y="1543050"/>
            <a:ext cx="2513188" cy="2743200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FontTx/>
              <a:buNone/>
              <a:defRPr sz="1000">
                <a:solidFill>
                  <a:schemeClr val="accent5"/>
                </a:solidFill>
                <a:latin typeface="Lato" panose="020F0502020204030203" pitchFamily="34" charset="0"/>
              </a:defRPr>
            </a:lvl1pPr>
          </a:lstStyle>
          <a:p>
            <a:endParaRPr lang="en-US"/>
          </a:p>
        </p:txBody>
      </p:sp>
      <p:sp>
        <p:nvSpPr>
          <p:cNvPr id="14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6033912" y="1543050"/>
            <a:ext cx="2513188" cy="2743200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FontTx/>
              <a:buNone/>
              <a:defRPr sz="1000">
                <a:solidFill>
                  <a:schemeClr val="accent5"/>
                </a:solidFill>
                <a:latin typeface="Lato" panose="020F0502020204030203" pitchFamily="34" charset="0"/>
              </a:defRPr>
            </a:lvl1pPr>
          </a:lstStyle>
          <a:p>
            <a:endParaRPr lang="en-US"/>
          </a:p>
        </p:txBody>
      </p:sp>
      <p:sp>
        <p:nvSpPr>
          <p:cNvPr id="15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3315406" y="1543050"/>
            <a:ext cx="2513188" cy="2743200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FontTx/>
              <a:buNone/>
              <a:defRPr sz="1000">
                <a:solidFill>
                  <a:schemeClr val="accent5"/>
                </a:solidFill>
                <a:latin typeface="Lato" panose="020F0502020204030203" pitchFamily="34" charset="0"/>
              </a:defRPr>
            </a:lvl1pPr>
          </a:lstStyle>
          <a:p>
            <a:endParaRPr lang="en-US"/>
          </a:p>
        </p:txBody>
      </p:sp>
      <p:pic>
        <p:nvPicPr>
          <p:cNvPr id="13" name="Imagem 12">
            <a:extLst>
              <a:ext uri="{FF2B5EF4-FFF2-40B4-BE49-F238E27FC236}">
                <a16:creationId xmlns:a16="http://schemas.microsoft.com/office/drawing/2014/main" id="{33C9BC74-459D-4CB9-B544-26C2E591A7C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7127" y="4373217"/>
            <a:ext cx="716873" cy="7702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91827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extLst>
    <p:ext uri="{DCECCB84-F9BA-43D5-87BE-67443E8EF086}">
      <p15:sldGuideLst xmlns:p15="http://schemas.microsoft.com/office/powerpoint/2012/main">
        <p15:guide id="1" orient="horz" pos="2700">
          <p15:clr>
            <a:srgbClr val="FBAE40"/>
          </p15:clr>
        </p15:guide>
        <p15:guide id="2" pos="5384">
          <p15:clr>
            <a:srgbClr val="FBAE40"/>
          </p15:clr>
        </p15:guide>
        <p15:guide id="3" pos="374">
          <p15:clr>
            <a:srgbClr val="FBAE40"/>
          </p15:clr>
        </p15:guide>
        <p15:guide id="4" orient="horz" pos="306">
          <p15:clr>
            <a:srgbClr val="FBAE40"/>
          </p15:clr>
        </p15:guide>
        <p15:guide id="5" orient="horz" pos="972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com 5 foto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584202" y="575841"/>
            <a:ext cx="7953374" cy="383260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200" b="0" cap="all" spc="50" baseline="0">
                <a:solidFill>
                  <a:schemeClr val="accent1"/>
                </a:solidFill>
                <a:latin typeface="Lato Black" panose="020F0A02020204030203" pitchFamily="34" charset="0"/>
                <a:ea typeface="Roboto" panose="02000000000000000000" pitchFamily="2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 dirty="0"/>
              <a:t>Clique para </a:t>
            </a:r>
            <a:r>
              <a:rPr lang="en-US" dirty="0" err="1"/>
              <a:t>editar</a:t>
            </a:r>
            <a:r>
              <a:rPr lang="en-US" dirty="0"/>
              <a:t> o </a:t>
            </a:r>
            <a:r>
              <a:rPr lang="en-US" dirty="0" err="1"/>
              <a:t>título</a:t>
            </a:r>
            <a:endParaRPr lang="en-US" dirty="0"/>
          </a:p>
        </p:txBody>
      </p:sp>
      <p:sp>
        <p:nvSpPr>
          <p:cNvPr id="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593725" y="959101"/>
            <a:ext cx="7953374" cy="141344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ts val="1200"/>
              </a:lnSpc>
              <a:spcBef>
                <a:spcPts val="0"/>
              </a:spcBef>
              <a:buNone/>
              <a:defRPr sz="900" b="0" cap="none" spc="0" baseline="0">
                <a:solidFill>
                  <a:schemeClr val="accent4"/>
                </a:solidFill>
                <a:latin typeface="Lato" panose="020F0502020204030203" pitchFamily="34" charset="0"/>
                <a:ea typeface="Roboto" panose="02000000000000000000" pitchFamily="2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 dirty="0"/>
              <a:t>Clique para </a:t>
            </a:r>
            <a:r>
              <a:rPr lang="en-US" dirty="0" err="1"/>
              <a:t>editar</a:t>
            </a:r>
            <a:r>
              <a:rPr lang="en-US" dirty="0"/>
              <a:t> o </a:t>
            </a:r>
            <a:r>
              <a:rPr lang="en-US" dirty="0" err="1"/>
              <a:t>subtítulo</a:t>
            </a:r>
            <a:endParaRPr lang="en-US" dirty="0"/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593725" y="492067"/>
            <a:ext cx="914400" cy="0"/>
          </a:xfrm>
          <a:prstGeom prst="line">
            <a:avLst/>
          </a:prstGeom>
          <a:ln w="28575">
            <a:solidFill>
              <a:srgbClr val="EC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593725" y="1543050"/>
            <a:ext cx="2560108" cy="1316520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FontTx/>
              <a:buNone/>
              <a:defRPr sz="800">
                <a:solidFill>
                  <a:schemeClr val="accent5"/>
                </a:solidFill>
                <a:latin typeface="Lato" panose="020F0502020204030203" pitchFamily="34" charset="0"/>
              </a:defRPr>
            </a:lvl1pPr>
          </a:lstStyle>
          <a:p>
            <a:endParaRPr lang="en-US"/>
          </a:p>
        </p:txBody>
      </p:sp>
      <p:sp>
        <p:nvSpPr>
          <p:cNvPr id="25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5985433" y="1543050"/>
            <a:ext cx="2560108" cy="1316520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FontTx/>
              <a:buNone/>
              <a:defRPr sz="800">
                <a:solidFill>
                  <a:schemeClr val="accent5"/>
                </a:solidFill>
                <a:latin typeface="Lato" panose="020F0502020204030203" pitchFamily="34" charset="0"/>
              </a:defRPr>
            </a:lvl1pPr>
          </a:lstStyle>
          <a:p>
            <a:endParaRPr lang="en-US"/>
          </a:p>
        </p:txBody>
      </p:sp>
      <p:sp>
        <p:nvSpPr>
          <p:cNvPr id="27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593725" y="2965967"/>
            <a:ext cx="2560108" cy="1316520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FontTx/>
              <a:buNone/>
              <a:defRPr sz="800">
                <a:solidFill>
                  <a:schemeClr val="accent5"/>
                </a:solidFill>
                <a:latin typeface="Lato" panose="020F0502020204030203" pitchFamily="34" charset="0"/>
              </a:defRPr>
            </a:lvl1pPr>
          </a:lstStyle>
          <a:p>
            <a:endParaRPr lang="en-US"/>
          </a:p>
        </p:txBody>
      </p:sp>
      <p:sp>
        <p:nvSpPr>
          <p:cNvPr id="28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5985433" y="2965967"/>
            <a:ext cx="2560108" cy="1316520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FontTx/>
              <a:buNone/>
              <a:defRPr sz="800">
                <a:solidFill>
                  <a:schemeClr val="accent5"/>
                </a:solidFill>
                <a:latin typeface="Lato" panose="020F0502020204030203" pitchFamily="34" charset="0"/>
              </a:defRPr>
            </a:lvl1pPr>
          </a:lstStyle>
          <a:p>
            <a:endParaRPr lang="en-US"/>
          </a:p>
        </p:txBody>
      </p:sp>
      <p:sp>
        <p:nvSpPr>
          <p:cNvPr id="29" name="Picture Placeholder 2"/>
          <p:cNvSpPr>
            <a:spLocks noGrp="1"/>
          </p:cNvSpPr>
          <p:nvPr>
            <p:ph type="pic" sz="quarter" idx="17"/>
          </p:nvPr>
        </p:nvSpPr>
        <p:spPr>
          <a:xfrm>
            <a:off x="3291946" y="2965967"/>
            <a:ext cx="2560108" cy="1316520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FontTx/>
              <a:buNone/>
              <a:defRPr sz="800">
                <a:solidFill>
                  <a:schemeClr val="accent5"/>
                </a:solidFill>
                <a:latin typeface="Lato" panose="020F0502020204030203" pitchFamily="34" charset="0"/>
              </a:defRPr>
            </a:lvl1pPr>
          </a:lstStyle>
          <a:p>
            <a:endParaRPr lang="en-US"/>
          </a:p>
        </p:txBody>
      </p:sp>
      <p:pic>
        <p:nvPicPr>
          <p:cNvPr id="15" name="Imagem 14">
            <a:extLst>
              <a:ext uri="{FF2B5EF4-FFF2-40B4-BE49-F238E27FC236}">
                <a16:creationId xmlns:a16="http://schemas.microsoft.com/office/drawing/2014/main" id="{9A39571E-2F98-4461-9EC4-F6084731B78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7127" y="4373217"/>
            <a:ext cx="716873" cy="7702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52590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extLst>
    <p:ext uri="{DCECCB84-F9BA-43D5-87BE-67443E8EF086}">
      <p15:sldGuideLst xmlns:p15="http://schemas.microsoft.com/office/powerpoint/2012/main">
        <p15:guide id="1" orient="horz" pos="2700">
          <p15:clr>
            <a:srgbClr val="FBAE40"/>
          </p15:clr>
        </p15:guide>
        <p15:guide id="2" pos="5384">
          <p15:clr>
            <a:srgbClr val="FBAE40"/>
          </p15:clr>
        </p15:guide>
        <p15:guide id="3" pos="374">
          <p15:clr>
            <a:srgbClr val="FBAE40"/>
          </p15:clr>
        </p15:guide>
        <p15:guide id="4" orient="horz" pos="306">
          <p15:clr>
            <a:srgbClr val="FBAE40"/>
          </p15:clr>
        </p15:guide>
        <p15:guide id="5" orient="horz" pos="972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com 4 foto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584202" y="575841"/>
            <a:ext cx="7953374" cy="383260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200" b="0" cap="all" spc="50" baseline="0">
                <a:solidFill>
                  <a:schemeClr val="accent1"/>
                </a:solidFill>
                <a:latin typeface="Lato Black" panose="020F0A02020204030203" pitchFamily="34" charset="0"/>
                <a:ea typeface="Roboto" panose="02000000000000000000" pitchFamily="2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 dirty="0"/>
              <a:t>Clique para </a:t>
            </a:r>
            <a:r>
              <a:rPr lang="en-US" dirty="0" err="1"/>
              <a:t>editar</a:t>
            </a:r>
            <a:r>
              <a:rPr lang="en-US" dirty="0"/>
              <a:t> o </a:t>
            </a:r>
            <a:r>
              <a:rPr lang="en-US" dirty="0" err="1"/>
              <a:t>título</a:t>
            </a:r>
            <a:endParaRPr lang="en-US" dirty="0"/>
          </a:p>
        </p:txBody>
      </p:sp>
      <p:sp>
        <p:nvSpPr>
          <p:cNvPr id="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593725" y="959101"/>
            <a:ext cx="7953374" cy="141344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ts val="1200"/>
              </a:lnSpc>
              <a:spcBef>
                <a:spcPts val="0"/>
              </a:spcBef>
              <a:buNone/>
              <a:defRPr sz="900" b="0" cap="none" spc="0" baseline="0">
                <a:solidFill>
                  <a:schemeClr val="accent4"/>
                </a:solidFill>
                <a:latin typeface="Lato" panose="020F0502020204030203" pitchFamily="34" charset="0"/>
                <a:ea typeface="Roboto" panose="02000000000000000000" pitchFamily="2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 dirty="0"/>
              <a:t>Clique para </a:t>
            </a:r>
            <a:r>
              <a:rPr lang="en-US" dirty="0" err="1"/>
              <a:t>editar</a:t>
            </a:r>
            <a:r>
              <a:rPr lang="en-US" dirty="0"/>
              <a:t> o </a:t>
            </a:r>
            <a:r>
              <a:rPr lang="en-US" dirty="0" err="1"/>
              <a:t>subtítulo</a:t>
            </a:r>
            <a:endParaRPr lang="en-US" dirty="0"/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593725" y="492067"/>
            <a:ext cx="914400" cy="0"/>
          </a:xfrm>
          <a:prstGeom prst="line">
            <a:avLst/>
          </a:prstGeom>
          <a:ln w="28575">
            <a:solidFill>
              <a:srgbClr val="EC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593725" y="1543050"/>
            <a:ext cx="2560108" cy="2743200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FontTx/>
              <a:buNone/>
              <a:defRPr sz="800">
                <a:solidFill>
                  <a:schemeClr val="accent5"/>
                </a:solidFill>
                <a:latin typeface="Lato" panose="020F0502020204030203" pitchFamily="34" charset="0"/>
              </a:defRPr>
            </a:lvl1pPr>
          </a:lstStyle>
          <a:p>
            <a:endParaRPr lang="en-US"/>
          </a:p>
        </p:txBody>
      </p:sp>
      <p:sp>
        <p:nvSpPr>
          <p:cNvPr id="25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5985433" y="1543050"/>
            <a:ext cx="2560108" cy="1316520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FontTx/>
              <a:buNone/>
              <a:defRPr sz="800">
                <a:solidFill>
                  <a:schemeClr val="accent5"/>
                </a:solidFill>
                <a:latin typeface="Lato" panose="020F0502020204030203" pitchFamily="34" charset="0"/>
              </a:defRPr>
            </a:lvl1pPr>
          </a:lstStyle>
          <a:p>
            <a:endParaRPr lang="en-US"/>
          </a:p>
        </p:txBody>
      </p:sp>
      <p:sp>
        <p:nvSpPr>
          <p:cNvPr id="28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5985433" y="2965967"/>
            <a:ext cx="2560108" cy="1316520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FontTx/>
              <a:buNone/>
              <a:defRPr sz="800">
                <a:solidFill>
                  <a:schemeClr val="accent5"/>
                </a:solidFill>
                <a:latin typeface="Lato" panose="020F0502020204030203" pitchFamily="34" charset="0"/>
              </a:defRPr>
            </a:lvl1pPr>
          </a:lstStyle>
          <a:p>
            <a:endParaRPr lang="en-US"/>
          </a:p>
        </p:txBody>
      </p:sp>
      <p:sp>
        <p:nvSpPr>
          <p:cNvPr id="29" name="Picture Placeholder 2"/>
          <p:cNvSpPr>
            <a:spLocks noGrp="1"/>
          </p:cNvSpPr>
          <p:nvPr>
            <p:ph type="pic" sz="quarter" idx="17"/>
          </p:nvPr>
        </p:nvSpPr>
        <p:spPr>
          <a:xfrm>
            <a:off x="3291946" y="2965967"/>
            <a:ext cx="2560108" cy="1316520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FontTx/>
              <a:buNone/>
              <a:defRPr sz="800">
                <a:solidFill>
                  <a:schemeClr val="accent5"/>
                </a:solidFill>
                <a:latin typeface="Lato" panose="020F0502020204030203" pitchFamily="34" charset="0"/>
              </a:defRPr>
            </a:lvl1pPr>
          </a:lstStyle>
          <a:p>
            <a:endParaRPr lang="en-US"/>
          </a:p>
        </p:txBody>
      </p:sp>
      <p:pic>
        <p:nvPicPr>
          <p:cNvPr id="14" name="Imagem 13">
            <a:extLst>
              <a:ext uri="{FF2B5EF4-FFF2-40B4-BE49-F238E27FC236}">
                <a16:creationId xmlns:a16="http://schemas.microsoft.com/office/drawing/2014/main" id="{C6D01092-D705-405F-928F-D6ACA4300DD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7127" y="4373217"/>
            <a:ext cx="716873" cy="7702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93788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extLst>
    <p:ext uri="{DCECCB84-F9BA-43D5-87BE-67443E8EF086}">
      <p15:sldGuideLst xmlns:p15="http://schemas.microsoft.com/office/powerpoint/2012/main">
        <p15:guide id="1" orient="horz" pos="2700">
          <p15:clr>
            <a:srgbClr val="FBAE40"/>
          </p15:clr>
        </p15:guide>
        <p15:guide id="2" pos="5384">
          <p15:clr>
            <a:srgbClr val="FBAE40"/>
          </p15:clr>
        </p15:guide>
        <p15:guide id="3" pos="374">
          <p15:clr>
            <a:srgbClr val="FBAE40"/>
          </p15:clr>
        </p15:guide>
        <p15:guide id="4" orient="horz" pos="306">
          <p15:clr>
            <a:srgbClr val="FBAE40"/>
          </p15:clr>
        </p15:guide>
        <p15:guide id="5" orient="horz" pos="972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com 2 foto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Picture Placeholder 2"/>
          <p:cNvSpPr>
            <a:spLocks noGrp="1"/>
          </p:cNvSpPr>
          <p:nvPr>
            <p:ph type="pic" sz="quarter" idx="17"/>
          </p:nvPr>
        </p:nvSpPr>
        <p:spPr>
          <a:xfrm>
            <a:off x="1508125" y="1543049"/>
            <a:ext cx="2546117" cy="1408417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FontTx/>
              <a:buNone/>
              <a:defRPr sz="800">
                <a:solidFill>
                  <a:schemeClr val="accent5"/>
                </a:solidFill>
                <a:latin typeface="Lato" panose="020F0502020204030203" pitchFamily="34" charset="0"/>
              </a:defRPr>
            </a:lvl1pPr>
          </a:lstStyle>
          <a:p>
            <a:endParaRPr lang="en-US"/>
          </a:p>
        </p:txBody>
      </p:sp>
      <p:sp>
        <p:nvSpPr>
          <p:cNvPr id="18" name="Picture Placeholder 2"/>
          <p:cNvSpPr>
            <a:spLocks noGrp="1"/>
          </p:cNvSpPr>
          <p:nvPr>
            <p:ph type="pic" sz="quarter" idx="18"/>
          </p:nvPr>
        </p:nvSpPr>
        <p:spPr>
          <a:xfrm>
            <a:off x="5988464" y="1543049"/>
            <a:ext cx="2546117" cy="1408417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FontTx/>
              <a:buNone/>
              <a:defRPr sz="800">
                <a:solidFill>
                  <a:schemeClr val="accent5"/>
                </a:solidFill>
                <a:latin typeface="Lato" panose="020F0502020204030203" pitchFamily="34" charset="0"/>
              </a:defRPr>
            </a:lvl1pPr>
          </a:lstStyle>
          <a:p>
            <a:endParaRPr lang="en-US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584202" y="575841"/>
            <a:ext cx="7953374" cy="383260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200" b="0" cap="all" spc="50" baseline="0">
                <a:solidFill>
                  <a:schemeClr val="accent1"/>
                </a:solidFill>
                <a:latin typeface="Lato Black" panose="020F0A02020204030203" pitchFamily="34" charset="0"/>
                <a:ea typeface="Roboto" panose="02000000000000000000" pitchFamily="2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 dirty="0"/>
              <a:t>Clique para </a:t>
            </a:r>
            <a:r>
              <a:rPr lang="en-US" dirty="0" err="1"/>
              <a:t>editar</a:t>
            </a:r>
            <a:r>
              <a:rPr lang="en-US" dirty="0"/>
              <a:t> o </a:t>
            </a:r>
            <a:r>
              <a:rPr lang="en-US" dirty="0" err="1"/>
              <a:t>título</a:t>
            </a:r>
            <a:endParaRPr lang="en-US" dirty="0"/>
          </a:p>
        </p:txBody>
      </p:sp>
      <p:sp>
        <p:nvSpPr>
          <p:cNvPr id="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593725" y="959101"/>
            <a:ext cx="7953374" cy="141344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ts val="1200"/>
              </a:lnSpc>
              <a:spcBef>
                <a:spcPts val="0"/>
              </a:spcBef>
              <a:buNone/>
              <a:defRPr sz="900" b="0" cap="none" spc="0" baseline="0">
                <a:solidFill>
                  <a:schemeClr val="accent4"/>
                </a:solidFill>
                <a:latin typeface="Lato" panose="020F0502020204030203" pitchFamily="34" charset="0"/>
                <a:ea typeface="Roboto" panose="02000000000000000000" pitchFamily="2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 dirty="0"/>
              <a:t>Clique para </a:t>
            </a:r>
            <a:r>
              <a:rPr lang="en-US" dirty="0" err="1"/>
              <a:t>editar</a:t>
            </a:r>
            <a:r>
              <a:rPr lang="en-US" dirty="0"/>
              <a:t> o </a:t>
            </a:r>
            <a:r>
              <a:rPr lang="en-US" dirty="0" err="1"/>
              <a:t>subtítulo</a:t>
            </a:r>
            <a:endParaRPr lang="en-US" dirty="0"/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593725" y="492067"/>
            <a:ext cx="914400" cy="0"/>
          </a:xfrm>
          <a:prstGeom prst="line">
            <a:avLst/>
          </a:prstGeom>
          <a:ln w="28575">
            <a:solidFill>
              <a:srgbClr val="EC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Imagem 12">
            <a:extLst>
              <a:ext uri="{FF2B5EF4-FFF2-40B4-BE49-F238E27FC236}">
                <a16:creationId xmlns:a16="http://schemas.microsoft.com/office/drawing/2014/main" id="{4AB1F524-9DCE-4EE4-B237-3C476CA8157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7127" y="4373217"/>
            <a:ext cx="716873" cy="7702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19698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extLst>
    <p:ext uri="{DCECCB84-F9BA-43D5-87BE-67443E8EF086}">
      <p15:sldGuideLst xmlns:p15="http://schemas.microsoft.com/office/powerpoint/2012/main">
        <p15:guide id="1" orient="horz" pos="2700">
          <p15:clr>
            <a:srgbClr val="FBAE40"/>
          </p15:clr>
        </p15:guide>
        <p15:guide id="2" pos="5384">
          <p15:clr>
            <a:srgbClr val="FBAE40"/>
          </p15:clr>
        </p15:guide>
        <p15:guide id="3" pos="374">
          <p15:clr>
            <a:srgbClr val="FBAE40"/>
          </p15:clr>
        </p15:guide>
        <p15:guide id="4" orient="horz" pos="306">
          <p15:clr>
            <a:srgbClr val="FBAE40"/>
          </p15:clr>
        </p15:guide>
        <p15:guide id="5" orient="horz" pos="972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ckup iPhone fundo vermelh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EC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6535" y="1134684"/>
            <a:ext cx="2415741" cy="3528796"/>
          </a:xfrm>
          <a:prstGeom prst="rect">
            <a:avLst/>
          </a:prstGeom>
        </p:spPr>
      </p:pic>
      <p:sp>
        <p:nvSpPr>
          <p:cNvPr id="4" name="Picture Placeholder 25"/>
          <p:cNvSpPr>
            <a:spLocks noGrp="1"/>
          </p:cNvSpPr>
          <p:nvPr>
            <p:ph type="pic" sz="quarter" idx="14"/>
          </p:nvPr>
        </p:nvSpPr>
        <p:spPr>
          <a:xfrm>
            <a:off x="720840" y="1695550"/>
            <a:ext cx="1230200" cy="2232025"/>
          </a:xfrm>
          <a:custGeom>
            <a:avLst/>
            <a:gdLst>
              <a:gd name="connsiteX0" fmla="*/ 26656 w 4082023"/>
              <a:gd name="connsiteY0" fmla="*/ 0 h 7233920"/>
              <a:gd name="connsiteX1" fmla="*/ 4055367 w 4082023"/>
              <a:gd name="connsiteY1" fmla="*/ 0 h 7233920"/>
              <a:gd name="connsiteX2" fmla="*/ 4082023 w 4082023"/>
              <a:gd name="connsiteY2" fmla="*/ 26656 h 7233920"/>
              <a:gd name="connsiteX3" fmla="*/ 4082023 w 4082023"/>
              <a:gd name="connsiteY3" fmla="*/ 7207264 h 7233920"/>
              <a:gd name="connsiteX4" fmla="*/ 4055367 w 4082023"/>
              <a:gd name="connsiteY4" fmla="*/ 7233920 h 7233920"/>
              <a:gd name="connsiteX5" fmla="*/ 26656 w 4082023"/>
              <a:gd name="connsiteY5" fmla="*/ 7233920 h 7233920"/>
              <a:gd name="connsiteX6" fmla="*/ 0 w 4082023"/>
              <a:gd name="connsiteY6" fmla="*/ 7207264 h 7233920"/>
              <a:gd name="connsiteX7" fmla="*/ 0 w 4082023"/>
              <a:gd name="connsiteY7" fmla="*/ 26656 h 7233920"/>
              <a:gd name="connsiteX8" fmla="*/ 26656 w 4082023"/>
              <a:gd name="connsiteY8" fmla="*/ 0 h 72339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082023" h="7233920">
                <a:moveTo>
                  <a:pt x="26656" y="0"/>
                </a:moveTo>
                <a:lnTo>
                  <a:pt x="4055367" y="0"/>
                </a:lnTo>
                <a:cubicBezTo>
                  <a:pt x="4070091" y="0"/>
                  <a:pt x="4082023" y="11934"/>
                  <a:pt x="4082023" y="26656"/>
                </a:cubicBezTo>
                <a:lnTo>
                  <a:pt x="4082023" y="7207264"/>
                </a:lnTo>
                <a:cubicBezTo>
                  <a:pt x="4082023" y="7221986"/>
                  <a:pt x="4070091" y="7233920"/>
                  <a:pt x="4055367" y="7233920"/>
                </a:cubicBezTo>
                <a:lnTo>
                  <a:pt x="26656" y="7233920"/>
                </a:lnTo>
                <a:cubicBezTo>
                  <a:pt x="11934" y="7233920"/>
                  <a:pt x="0" y="7221986"/>
                  <a:pt x="0" y="7207264"/>
                </a:cubicBezTo>
                <a:lnTo>
                  <a:pt x="0" y="26656"/>
                </a:lnTo>
                <a:cubicBezTo>
                  <a:pt x="0" y="11934"/>
                  <a:pt x="11934" y="0"/>
                  <a:pt x="26656" y="0"/>
                </a:cubicBezTo>
                <a:close/>
              </a:path>
            </a:pathLst>
          </a:custGeom>
          <a:noFill/>
          <a:ln w="6350">
            <a:solidFill>
              <a:schemeClr val="accent1"/>
            </a:solidFill>
          </a:ln>
        </p:spPr>
        <p:txBody>
          <a:bodyPr wrap="square" lIns="0" tIns="0" rIns="0" bIns="0" anchor="ctr" anchorCtr="0">
            <a:noAutofit/>
          </a:bodyPr>
          <a:lstStyle>
            <a:lvl1pPr marL="0" indent="0" algn="ctr">
              <a:buFontTx/>
              <a:buNone/>
              <a:defRPr sz="800">
                <a:solidFill>
                  <a:schemeClr val="accent5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endParaRPr lang="en-US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584202" y="575841"/>
            <a:ext cx="7953374" cy="383260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200" b="0" cap="all" spc="50" baseline="0">
                <a:solidFill>
                  <a:schemeClr val="bg1"/>
                </a:solidFill>
                <a:latin typeface="Lato Black" panose="020F0A02020204030203" pitchFamily="34" charset="0"/>
                <a:ea typeface="Roboto" panose="02000000000000000000" pitchFamily="2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 dirty="0"/>
              <a:t>Clique para </a:t>
            </a:r>
            <a:r>
              <a:rPr lang="en-US" dirty="0" err="1"/>
              <a:t>editar</a:t>
            </a:r>
            <a:r>
              <a:rPr lang="en-US" dirty="0"/>
              <a:t> o </a:t>
            </a:r>
            <a:r>
              <a:rPr lang="en-US" dirty="0" err="1"/>
              <a:t>título</a:t>
            </a:r>
            <a:endParaRPr lang="en-US" dirty="0"/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593725" y="959101"/>
            <a:ext cx="7953374" cy="141344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ts val="1200"/>
              </a:lnSpc>
              <a:spcBef>
                <a:spcPts val="0"/>
              </a:spcBef>
              <a:buNone/>
              <a:defRPr sz="900" b="0" cap="none" spc="0" baseline="0">
                <a:solidFill>
                  <a:schemeClr val="bg1"/>
                </a:solidFill>
                <a:latin typeface="Lato" panose="020F0502020204030203" pitchFamily="34" charset="0"/>
                <a:ea typeface="Roboto" panose="02000000000000000000" pitchFamily="2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 dirty="0"/>
              <a:t>Clique para </a:t>
            </a:r>
            <a:r>
              <a:rPr lang="en-US" dirty="0" err="1"/>
              <a:t>editar</a:t>
            </a:r>
            <a:r>
              <a:rPr lang="en-US" dirty="0"/>
              <a:t> o </a:t>
            </a:r>
            <a:r>
              <a:rPr lang="en-US" dirty="0" err="1"/>
              <a:t>subtítulo</a:t>
            </a:r>
            <a:endParaRPr lang="en-US" dirty="0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593725" y="492067"/>
            <a:ext cx="914400" cy="0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37877" y="1134684"/>
            <a:ext cx="2415741" cy="3528796"/>
          </a:xfrm>
          <a:prstGeom prst="rect">
            <a:avLst/>
          </a:prstGeom>
        </p:spPr>
      </p:pic>
      <p:sp>
        <p:nvSpPr>
          <p:cNvPr id="15" name="Picture Placeholder 25"/>
          <p:cNvSpPr>
            <a:spLocks noGrp="1"/>
          </p:cNvSpPr>
          <p:nvPr>
            <p:ph type="pic" sz="quarter" idx="15"/>
          </p:nvPr>
        </p:nvSpPr>
        <p:spPr>
          <a:xfrm>
            <a:off x="5022182" y="1695550"/>
            <a:ext cx="1230200" cy="2232025"/>
          </a:xfrm>
          <a:custGeom>
            <a:avLst/>
            <a:gdLst>
              <a:gd name="connsiteX0" fmla="*/ 26656 w 4082023"/>
              <a:gd name="connsiteY0" fmla="*/ 0 h 7233920"/>
              <a:gd name="connsiteX1" fmla="*/ 4055367 w 4082023"/>
              <a:gd name="connsiteY1" fmla="*/ 0 h 7233920"/>
              <a:gd name="connsiteX2" fmla="*/ 4082023 w 4082023"/>
              <a:gd name="connsiteY2" fmla="*/ 26656 h 7233920"/>
              <a:gd name="connsiteX3" fmla="*/ 4082023 w 4082023"/>
              <a:gd name="connsiteY3" fmla="*/ 7207264 h 7233920"/>
              <a:gd name="connsiteX4" fmla="*/ 4055367 w 4082023"/>
              <a:gd name="connsiteY4" fmla="*/ 7233920 h 7233920"/>
              <a:gd name="connsiteX5" fmla="*/ 26656 w 4082023"/>
              <a:gd name="connsiteY5" fmla="*/ 7233920 h 7233920"/>
              <a:gd name="connsiteX6" fmla="*/ 0 w 4082023"/>
              <a:gd name="connsiteY6" fmla="*/ 7207264 h 7233920"/>
              <a:gd name="connsiteX7" fmla="*/ 0 w 4082023"/>
              <a:gd name="connsiteY7" fmla="*/ 26656 h 7233920"/>
              <a:gd name="connsiteX8" fmla="*/ 26656 w 4082023"/>
              <a:gd name="connsiteY8" fmla="*/ 0 h 72339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082023" h="7233920">
                <a:moveTo>
                  <a:pt x="26656" y="0"/>
                </a:moveTo>
                <a:lnTo>
                  <a:pt x="4055367" y="0"/>
                </a:lnTo>
                <a:cubicBezTo>
                  <a:pt x="4070091" y="0"/>
                  <a:pt x="4082023" y="11934"/>
                  <a:pt x="4082023" y="26656"/>
                </a:cubicBezTo>
                <a:lnTo>
                  <a:pt x="4082023" y="7207264"/>
                </a:lnTo>
                <a:cubicBezTo>
                  <a:pt x="4082023" y="7221986"/>
                  <a:pt x="4070091" y="7233920"/>
                  <a:pt x="4055367" y="7233920"/>
                </a:cubicBezTo>
                <a:lnTo>
                  <a:pt x="26656" y="7233920"/>
                </a:lnTo>
                <a:cubicBezTo>
                  <a:pt x="11934" y="7233920"/>
                  <a:pt x="0" y="7221986"/>
                  <a:pt x="0" y="7207264"/>
                </a:cubicBezTo>
                <a:lnTo>
                  <a:pt x="0" y="26656"/>
                </a:lnTo>
                <a:cubicBezTo>
                  <a:pt x="0" y="11934"/>
                  <a:pt x="11934" y="0"/>
                  <a:pt x="26656" y="0"/>
                </a:cubicBezTo>
                <a:close/>
              </a:path>
            </a:pathLst>
          </a:custGeom>
          <a:noFill/>
          <a:ln w="6350">
            <a:solidFill>
              <a:schemeClr val="accent1"/>
            </a:solidFill>
          </a:ln>
        </p:spPr>
        <p:txBody>
          <a:bodyPr wrap="square" lIns="0" tIns="0" rIns="0" bIns="0" anchor="ctr" anchorCtr="0">
            <a:noAutofit/>
          </a:bodyPr>
          <a:lstStyle>
            <a:lvl1pPr marL="0" indent="0" algn="ctr">
              <a:buFontTx/>
              <a:buNone/>
              <a:defRPr sz="800">
                <a:solidFill>
                  <a:schemeClr val="accent5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88548" y="1439120"/>
            <a:ext cx="2415741" cy="3528796"/>
          </a:xfrm>
          <a:prstGeom prst="rect">
            <a:avLst/>
          </a:prstGeom>
        </p:spPr>
      </p:pic>
      <p:sp>
        <p:nvSpPr>
          <p:cNvPr id="17" name="Picture Placeholder 25"/>
          <p:cNvSpPr>
            <a:spLocks noGrp="1"/>
          </p:cNvSpPr>
          <p:nvPr>
            <p:ph type="pic" sz="quarter" idx="16"/>
          </p:nvPr>
        </p:nvSpPr>
        <p:spPr>
          <a:xfrm>
            <a:off x="7172853" y="1999986"/>
            <a:ext cx="1230200" cy="2232025"/>
          </a:xfrm>
          <a:custGeom>
            <a:avLst/>
            <a:gdLst>
              <a:gd name="connsiteX0" fmla="*/ 26656 w 4082023"/>
              <a:gd name="connsiteY0" fmla="*/ 0 h 7233920"/>
              <a:gd name="connsiteX1" fmla="*/ 4055367 w 4082023"/>
              <a:gd name="connsiteY1" fmla="*/ 0 h 7233920"/>
              <a:gd name="connsiteX2" fmla="*/ 4082023 w 4082023"/>
              <a:gd name="connsiteY2" fmla="*/ 26656 h 7233920"/>
              <a:gd name="connsiteX3" fmla="*/ 4082023 w 4082023"/>
              <a:gd name="connsiteY3" fmla="*/ 7207264 h 7233920"/>
              <a:gd name="connsiteX4" fmla="*/ 4055367 w 4082023"/>
              <a:gd name="connsiteY4" fmla="*/ 7233920 h 7233920"/>
              <a:gd name="connsiteX5" fmla="*/ 26656 w 4082023"/>
              <a:gd name="connsiteY5" fmla="*/ 7233920 h 7233920"/>
              <a:gd name="connsiteX6" fmla="*/ 0 w 4082023"/>
              <a:gd name="connsiteY6" fmla="*/ 7207264 h 7233920"/>
              <a:gd name="connsiteX7" fmla="*/ 0 w 4082023"/>
              <a:gd name="connsiteY7" fmla="*/ 26656 h 7233920"/>
              <a:gd name="connsiteX8" fmla="*/ 26656 w 4082023"/>
              <a:gd name="connsiteY8" fmla="*/ 0 h 72339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082023" h="7233920">
                <a:moveTo>
                  <a:pt x="26656" y="0"/>
                </a:moveTo>
                <a:lnTo>
                  <a:pt x="4055367" y="0"/>
                </a:lnTo>
                <a:cubicBezTo>
                  <a:pt x="4070091" y="0"/>
                  <a:pt x="4082023" y="11934"/>
                  <a:pt x="4082023" y="26656"/>
                </a:cubicBezTo>
                <a:lnTo>
                  <a:pt x="4082023" y="7207264"/>
                </a:lnTo>
                <a:cubicBezTo>
                  <a:pt x="4082023" y="7221986"/>
                  <a:pt x="4070091" y="7233920"/>
                  <a:pt x="4055367" y="7233920"/>
                </a:cubicBezTo>
                <a:lnTo>
                  <a:pt x="26656" y="7233920"/>
                </a:lnTo>
                <a:cubicBezTo>
                  <a:pt x="11934" y="7233920"/>
                  <a:pt x="0" y="7221986"/>
                  <a:pt x="0" y="7207264"/>
                </a:cubicBezTo>
                <a:lnTo>
                  <a:pt x="0" y="26656"/>
                </a:lnTo>
                <a:cubicBezTo>
                  <a:pt x="0" y="11934"/>
                  <a:pt x="11934" y="0"/>
                  <a:pt x="26656" y="0"/>
                </a:cubicBezTo>
                <a:close/>
              </a:path>
            </a:pathLst>
          </a:custGeom>
          <a:noFill/>
          <a:ln w="6350">
            <a:solidFill>
              <a:schemeClr val="accent1"/>
            </a:solidFill>
          </a:ln>
        </p:spPr>
        <p:txBody>
          <a:bodyPr wrap="square" lIns="0" tIns="0" rIns="0" bIns="0" anchor="ctr" anchorCtr="0">
            <a:noAutofit/>
          </a:bodyPr>
          <a:lstStyle>
            <a:lvl1pPr marL="0" indent="0" algn="ctr">
              <a:buFontTx/>
              <a:buNone/>
              <a:defRPr sz="800">
                <a:solidFill>
                  <a:schemeClr val="accent5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87206" y="1439120"/>
            <a:ext cx="2415741" cy="3528796"/>
          </a:xfrm>
          <a:prstGeom prst="rect">
            <a:avLst/>
          </a:prstGeom>
        </p:spPr>
      </p:pic>
      <p:sp>
        <p:nvSpPr>
          <p:cNvPr id="19" name="Picture Placeholder 25"/>
          <p:cNvSpPr>
            <a:spLocks noGrp="1"/>
          </p:cNvSpPr>
          <p:nvPr>
            <p:ph type="pic" sz="quarter" idx="17"/>
          </p:nvPr>
        </p:nvSpPr>
        <p:spPr>
          <a:xfrm>
            <a:off x="2871511" y="1999986"/>
            <a:ext cx="1230200" cy="2232025"/>
          </a:xfrm>
          <a:custGeom>
            <a:avLst/>
            <a:gdLst>
              <a:gd name="connsiteX0" fmla="*/ 26656 w 4082023"/>
              <a:gd name="connsiteY0" fmla="*/ 0 h 7233920"/>
              <a:gd name="connsiteX1" fmla="*/ 4055367 w 4082023"/>
              <a:gd name="connsiteY1" fmla="*/ 0 h 7233920"/>
              <a:gd name="connsiteX2" fmla="*/ 4082023 w 4082023"/>
              <a:gd name="connsiteY2" fmla="*/ 26656 h 7233920"/>
              <a:gd name="connsiteX3" fmla="*/ 4082023 w 4082023"/>
              <a:gd name="connsiteY3" fmla="*/ 7207264 h 7233920"/>
              <a:gd name="connsiteX4" fmla="*/ 4055367 w 4082023"/>
              <a:gd name="connsiteY4" fmla="*/ 7233920 h 7233920"/>
              <a:gd name="connsiteX5" fmla="*/ 26656 w 4082023"/>
              <a:gd name="connsiteY5" fmla="*/ 7233920 h 7233920"/>
              <a:gd name="connsiteX6" fmla="*/ 0 w 4082023"/>
              <a:gd name="connsiteY6" fmla="*/ 7207264 h 7233920"/>
              <a:gd name="connsiteX7" fmla="*/ 0 w 4082023"/>
              <a:gd name="connsiteY7" fmla="*/ 26656 h 7233920"/>
              <a:gd name="connsiteX8" fmla="*/ 26656 w 4082023"/>
              <a:gd name="connsiteY8" fmla="*/ 0 h 72339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082023" h="7233920">
                <a:moveTo>
                  <a:pt x="26656" y="0"/>
                </a:moveTo>
                <a:lnTo>
                  <a:pt x="4055367" y="0"/>
                </a:lnTo>
                <a:cubicBezTo>
                  <a:pt x="4070091" y="0"/>
                  <a:pt x="4082023" y="11934"/>
                  <a:pt x="4082023" y="26656"/>
                </a:cubicBezTo>
                <a:lnTo>
                  <a:pt x="4082023" y="7207264"/>
                </a:lnTo>
                <a:cubicBezTo>
                  <a:pt x="4082023" y="7221986"/>
                  <a:pt x="4070091" y="7233920"/>
                  <a:pt x="4055367" y="7233920"/>
                </a:cubicBezTo>
                <a:lnTo>
                  <a:pt x="26656" y="7233920"/>
                </a:lnTo>
                <a:cubicBezTo>
                  <a:pt x="11934" y="7233920"/>
                  <a:pt x="0" y="7221986"/>
                  <a:pt x="0" y="7207264"/>
                </a:cubicBezTo>
                <a:lnTo>
                  <a:pt x="0" y="26656"/>
                </a:lnTo>
                <a:cubicBezTo>
                  <a:pt x="0" y="11934"/>
                  <a:pt x="11934" y="0"/>
                  <a:pt x="26656" y="0"/>
                </a:cubicBezTo>
                <a:close/>
              </a:path>
            </a:pathLst>
          </a:custGeom>
          <a:noFill/>
          <a:ln w="6350">
            <a:solidFill>
              <a:schemeClr val="accent1"/>
            </a:solidFill>
          </a:ln>
        </p:spPr>
        <p:txBody>
          <a:bodyPr wrap="square" lIns="0" tIns="0" rIns="0" bIns="0" anchor="ctr" anchorCtr="0">
            <a:noAutofit/>
          </a:bodyPr>
          <a:lstStyle>
            <a:lvl1pPr marL="0" indent="0" algn="ctr">
              <a:buFontTx/>
              <a:buNone/>
              <a:defRPr sz="800">
                <a:solidFill>
                  <a:schemeClr val="accent5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endParaRPr lang="en-US"/>
          </a:p>
        </p:txBody>
      </p:sp>
      <p:pic>
        <p:nvPicPr>
          <p:cNvPr id="20" name="Imagem 19">
            <a:extLst>
              <a:ext uri="{FF2B5EF4-FFF2-40B4-BE49-F238E27FC236}">
                <a16:creationId xmlns:a16="http://schemas.microsoft.com/office/drawing/2014/main" id="{BC652AC2-CA0C-4009-8B31-1785A15C1D5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7126" y="4373217"/>
            <a:ext cx="716873" cy="7702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06574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extLst>
    <p:ext uri="{DCECCB84-F9BA-43D5-87BE-67443E8EF086}">
      <p15:sldGuideLst xmlns:p15="http://schemas.microsoft.com/office/powerpoint/2012/main">
        <p15:guide id="1" orient="horz" pos="2934" userDrawn="1">
          <p15:clr>
            <a:srgbClr val="FBAE40"/>
          </p15:clr>
        </p15:guide>
        <p15:guide id="2" pos="5384">
          <p15:clr>
            <a:srgbClr val="FBAE40"/>
          </p15:clr>
        </p15:guide>
        <p15:guide id="3" pos="374">
          <p15:clr>
            <a:srgbClr val="FBAE40"/>
          </p15:clr>
        </p15:guide>
        <p15:guide id="4" orient="horz" pos="306">
          <p15:clr>
            <a:srgbClr val="FBAE40"/>
          </p15:clr>
        </p15:guide>
        <p15:guide id="5" orient="horz" pos="972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ckup iPhone fundo vermelh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20"/>
          <p:cNvSpPr/>
          <p:nvPr userDrawn="1"/>
        </p:nvSpPr>
        <p:spPr>
          <a:xfrm>
            <a:off x="595314" y="1857487"/>
            <a:ext cx="7953374" cy="2026872"/>
          </a:xfrm>
          <a:prstGeom prst="rect">
            <a:avLst/>
          </a:prstGeom>
          <a:solidFill>
            <a:srgbClr val="EC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584202" y="575841"/>
            <a:ext cx="7953374" cy="383260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200" b="0" cap="all" spc="50" baseline="0">
                <a:solidFill>
                  <a:schemeClr val="accent1"/>
                </a:solidFill>
                <a:latin typeface="Lato Black" panose="020F0A02020204030203" pitchFamily="34" charset="0"/>
                <a:ea typeface="Roboto" panose="02000000000000000000" pitchFamily="2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 dirty="0"/>
              <a:t>Clique para </a:t>
            </a:r>
            <a:r>
              <a:rPr lang="en-US" dirty="0" err="1"/>
              <a:t>editar</a:t>
            </a:r>
            <a:r>
              <a:rPr lang="en-US" dirty="0"/>
              <a:t> o </a:t>
            </a:r>
            <a:r>
              <a:rPr lang="en-US" dirty="0" err="1"/>
              <a:t>título</a:t>
            </a:r>
            <a:endParaRPr lang="en-US" dirty="0"/>
          </a:p>
        </p:txBody>
      </p:sp>
      <p:sp>
        <p:nvSpPr>
          <p:cNvPr id="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593725" y="959101"/>
            <a:ext cx="7953374" cy="141344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ts val="1200"/>
              </a:lnSpc>
              <a:spcBef>
                <a:spcPts val="0"/>
              </a:spcBef>
              <a:buNone/>
              <a:defRPr sz="900" b="0" cap="none" spc="0" baseline="0">
                <a:solidFill>
                  <a:schemeClr val="accent4"/>
                </a:solidFill>
                <a:latin typeface="Lato" panose="020F0502020204030203" pitchFamily="34" charset="0"/>
                <a:ea typeface="Roboto" panose="02000000000000000000" pitchFamily="2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 dirty="0"/>
              <a:t>Clique para </a:t>
            </a:r>
            <a:r>
              <a:rPr lang="en-US" dirty="0" err="1"/>
              <a:t>editar</a:t>
            </a:r>
            <a:r>
              <a:rPr lang="en-US" dirty="0"/>
              <a:t> o </a:t>
            </a:r>
            <a:r>
              <a:rPr lang="en-US" dirty="0" err="1"/>
              <a:t>subtítulo</a:t>
            </a:r>
            <a:endParaRPr lang="en-US" dirty="0"/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593725" y="492067"/>
            <a:ext cx="914400" cy="0"/>
          </a:xfrm>
          <a:prstGeom prst="line">
            <a:avLst/>
          </a:prstGeom>
          <a:ln w="28575">
            <a:solidFill>
              <a:srgbClr val="EC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64129" y="1194045"/>
            <a:ext cx="2415741" cy="3528796"/>
          </a:xfrm>
          <a:prstGeom prst="rect">
            <a:avLst/>
          </a:prstGeom>
        </p:spPr>
      </p:pic>
      <p:sp>
        <p:nvSpPr>
          <p:cNvPr id="18" name="Picture Placeholder 25"/>
          <p:cNvSpPr>
            <a:spLocks noGrp="1"/>
          </p:cNvSpPr>
          <p:nvPr>
            <p:ph type="pic" sz="quarter" idx="18"/>
          </p:nvPr>
        </p:nvSpPr>
        <p:spPr>
          <a:xfrm>
            <a:off x="3961343" y="1754911"/>
            <a:ext cx="1204382" cy="2232025"/>
          </a:xfrm>
          <a:custGeom>
            <a:avLst/>
            <a:gdLst>
              <a:gd name="connsiteX0" fmla="*/ 26656 w 4082023"/>
              <a:gd name="connsiteY0" fmla="*/ 0 h 7233920"/>
              <a:gd name="connsiteX1" fmla="*/ 4055367 w 4082023"/>
              <a:gd name="connsiteY1" fmla="*/ 0 h 7233920"/>
              <a:gd name="connsiteX2" fmla="*/ 4082023 w 4082023"/>
              <a:gd name="connsiteY2" fmla="*/ 26656 h 7233920"/>
              <a:gd name="connsiteX3" fmla="*/ 4082023 w 4082023"/>
              <a:gd name="connsiteY3" fmla="*/ 7207264 h 7233920"/>
              <a:gd name="connsiteX4" fmla="*/ 4055367 w 4082023"/>
              <a:gd name="connsiteY4" fmla="*/ 7233920 h 7233920"/>
              <a:gd name="connsiteX5" fmla="*/ 26656 w 4082023"/>
              <a:gd name="connsiteY5" fmla="*/ 7233920 h 7233920"/>
              <a:gd name="connsiteX6" fmla="*/ 0 w 4082023"/>
              <a:gd name="connsiteY6" fmla="*/ 7207264 h 7233920"/>
              <a:gd name="connsiteX7" fmla="*/ 0 w 4082023"/>
              <a:gd name="connsiteY7" fmla="*/ 26656 h 7233920"/>
              <a:gd name="connsiteX8" fmla="*/ 26656 w 4082023"/>
              <a:gd name="connsiteY8" fmla="*/ 0 h 72339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082023" h="7233920">
                <a:moveTo>
                  <a:pt x="26656" y="0"/>
                </a:moveTo>
                <a:lnTo>
                  <a:pt x="4055367" y="0"/>
                </a:lnTo>
                <a:cubicBezTo>
                  <a:pt x="4070091" y="0"/>
                  <a:pt x="4082023" y="11934"/>
                  <a:pt x="4082023" y="26656"/>
                </a:cubicBezTo>
                <a:lnTo>
                  <a:pt x="4082023" y="7207264"/>
                </a:lnTo>
                <a:cubicBezTo>
                  <a:pt x="4082023" y="7221986"/>
                  <a:pt x="4070091" y="7233920"/>
                  <a:pt x="4055367" y="7233920"/>
                </a:cubicBezTo>
                <a:lnTo>
                  <a:pt x="26656" y="7233920"/>
                </a:lnTo>
                <a:cubicBezTo>
                  <a:pt x="11934" y="7233920"/>
                  <a:pt x="0" y="7221986"/>
                  <a:pt x="0" y="7207264"/>
                </a:cubicBezTo>
                <a:lnTo>
                  <a:pt x="0" y="26656"/>
                </a:lnTo>
                <a:cubicBezTo>
                  <a:pt x="0" y="11934"/>
                  <a:pt x="11934" y="0"/>
                  <a:pt x="26656" y="0"/>
                </a:cubicBezTo>
                <a:close/>
              </a:path>
            </a:pathLst>
          </a:custGeom>
          <a:noFill/>
          <a:ln w="6350">
            <a:solidFill>
              <a:schemeClr val="accent1"/>
            </a:solidFill>
          </a:ln>
        </p:spPr>
        <p:txBody>
          <a:bodyPr wrap="square" lIns="0" tIns="0" rIns="0" bIns="0" anchor="ctr" anchorCtr="0">
            <a:noAutofit/>
          </a:bodyPr>
          <a:lstStyle>
            <a:lvl1pPr marL="0" indent="0" algn="ctr">
              <a:buFontTx/>
              <a:buNone/>
              <a:defRPr sz="800">
                <a:solidFill>
                  <a:schemeClr val="accent5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3" name="Imagem 12">
            <a:extLst>
              <a:ext uri="{FF2B5EF4-FFF2-40B4-BE49-F238E27FC236}">
                <a16:creationId xmlns:a16="http://schemas.microsoft.com/office/drawing/2014/main" id="{52EE209A-39C6-4153-B412-BD57CC13281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7127" y="4373217"/>
            <a:ext cx="716873" cy="7702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31196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extLst>
    <p:ext uri="{DCECCB84-F9BA-43D5-87BE-67443E8EF086}">
      <p15:sldGuideLst xmlns:p15="http://schemas.microsoft.com/office/powerpoint/2012/main">
        <p15:guide id="1" orient="horz" pos="2700">
          <p15:clr>
            <a:srgbClr val="FBAE40"/>
          </p15:clr>
        </p15:guide>
        <p15:guide id="2" pos="5384">
          <p15:clr>
            <a:srgbClr val="FBAE40"/>
          </p15:clr>
        </p15:guide>
        <p15:guide id="3" pos="374">
          <p15:clr>
            <a:srgbClr val="FBAE40"/>
          </p15:clr>
        </p15:guide>
        <p15:guide id="4" orient="horz" pos="306">
          <p15:clr>
            <a:srgbClr val="FBAE40"/>
          </p15:clr>
        </p15:guide>
        <p15:guide id="5" orient="horz" pos="972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ckup iPhone fundo vermelho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20"/>
          <p:cNvSpPr/>
          <p:nvPr userDrawn="1"/>
        </p:nvSpPr>
        <p:spPr>
          <a:xfrm>
            <a:off x="595314" y="1543050"/>
            <a:ext cx="7953374" cy="963482"/>
          </a:xfrm>
          <a:prstGeom prst="rect">
            <a:avLst/>
          </a:prstGeom>
          <a:solidFill>
            <a:srgbClr val="EC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584202" y="575841"/>
            <a:ext cx="7953374" cy="383260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200" b="0" cap="all" spc="50" baseline="0">
                <a:solidFill>
                  <a:schemeClr val="accent1"/>
                </a:solidFill>
                <a:latin typeface="Lato Black" panose="020F0A02020204030203" pitchFamily="34" charset="0"/>
                <a:ea typeface="Roboto" panose="02000000000000000000" pitchFamily="2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 dirty="0"/>
              <a:t>Clique para </a:t>
            </a:r>
            <a:r>
              <a:rPr lang="en-US" dirty="0" err="1"/>
              <a:t>editar</a:t>
            </a:r>
            <a:r>
              <a:rPr lang="en-US" dirty="0"/>
              <a:t> o </a:t>
            </a:r>
            <a:r>
              <a:rPr lang="en-US" dirty="0" err="1"/>
              <a:t>título</a:t>
            </a:r>
            <a:endParaRPr lang="en-US" dirty="0"/>
          </a:p>
        </p:txBody>
      </p:sp>
      <p:sp>
        <p:nvSpPr>
          <p:cNvPr id="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593725" y="959101"/>
            <a:ext cx="7953374" cy="141344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ts val="1200"/>
              </a:lnSpc>
              <a:spcBef>
                <a:spcPts val="0"/>
              </a:spcBef>
              <a:buNone/>
              <a:defRPr sz="900" b="0" cap="none" spc="0" baseline="0">
                <a:solidFill>
                  <a:schemeClr val="accent4"/>
                </a:solidFill>
                <a:latin typeface="Lato" panose="020F0502020204030203" pitchFamily="34" charset="0"/>
                <a:ea typeface="Roboto" panose="02000000000000000000" pitchFamily="2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 dirty="0"/>
              <a:t>Clique para </a:t>
            </a:r>
            <a:r>
              <a:rPr lang="en-US" dirty="0" err="1"/>
              <a:t>editar</a:t>
            </a:r>
            <a:r>
              <a:rPr lang="en-US" dirty="0"/>
              <a:t> o </a:t>
            </a:r>
            <a:r>
              <a:rPr lang="en-US" dirty="0" err="1"/>
              <a:t>subtítulo</a:t>
            </a:r>
            <a:endParaRPr lang="en-US" dirty="0"/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593725" y="492067"/>
            <a:ext cx="914400" cy="0"/>
          </a:xfrm>
          <a:prstGeom prst="line">
            <a:avLst/>
          </a:prstGeom>
          <a:ln w="28575">
            <a:solidFill>
              <a:srgbClr val="EC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33706" y="1142482"/>
            <a:ext cx="2415741" cy="3528796"/>
          </a:xfrm>
          <a:prstGeom prst="rect">
            <a:avLst/>
          </a:prstGeom>
        </p:spPr>
      </p:pic>
      <p:sp>
        <p:nvSpPr>
          <p:cNvPr id="14" name="Picture Placeholder 25"/>
          <p:cNvSpPr>
            <a:spLocks noGrp="1"/>
          </p:cNvSpPr>
          <p:nvPr>
            <p:ph type="pic" sz="quarter" idx="17"/>
          </p:nvPr>
        </p:nvSpPr>
        <p:spPr>
          <a:xfrm>
            <a:off x="5118011" y="1703348"/>
            <a:ext cx="1230200" cy="2232025"/>
          </a:xfrm>
          <a:custGeom>
            <a:avLst/>
            <a:gdLst>
              <a:gd name="connsiteX0" fmla="*/ 26656 w 4082023"/>
              <a:gd name="connsiteY0" fmla="*/ 0 h 7233920"/>
              <a:gd name="connsiteX1" fmla="*/ 4055367 w 4082023"/>
              <a:gd name="connsiteY1" fmla="*/ 0 h 7233920"/>
              <a:gd name="connsiteX2" fmla="*/ 4082023 w 4082023"/>
              <a:gd name="connsiteY2" fmla="*/ 26656 h 7233920"/>
              <a:gd name="connsiteX3" fmla="*/ 4082023 w 4082023"/>
              <a:gd name="connsiteY3" fmla="*/ 7207264 h 7233920"/>
              <a:gd name="connsiteX4" fmla="*/ 4055367 w 4082023"/>
              <a:gd name="connsiteY4" fmla="*/ 7233920 h 7233920"/>
              <a:gd name="connsiteX5" fmla="*/ 26656 w 4082023"/>
              <a:gd name="connsiteY5" fmla="*/ 7233920 h 7233920"/>
              <a:gd name="connsiteX6" fmla="*/ 0 w 4082023"/>
              <a:gd name="connsiteY6" fmla="*/ 7207264 h 7233920"/>
              <a:gd name="connsiteX7" fmla="*/ 0 w 4082023"/>
              <a:gd name="connsiteY7" fmla="*/ 26656 h 7233920"/>
              <a:gd name="connsiteX8" fmla="*/ 26656 w 4082023"/>
              <a:gd name="connsiteY8" fmla="*/ 0 h 72339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082023" h="7233920">
                <a:moveTo>
                  <a:pt x="26656" y="0"/>
                </a:moveTo>
                <a:lnTo>
                  <a:pt x="4055367" y="0"/>
                </a:lnTo>
                <a:cubicBezTo>
                  <a:pt x="4070091" y="0"/>
                  <a:pt x="4082023" y="11934"/>
                  <a:pt x="4082023" y="26656"/>
                </a:cubicBezTo>
                <a:lnTo>
                  <a:pt x="4082023" y="7207264"/>
                </a:lnTo>
                <a:cubicBezTo>
                  <a:pt x="4082023" y="7221986"/>
                  <a:pt x="4070091" y="7233920"/>
                  <a:pt x="4055367" y="7233920"/>
                </a:cubicBezTo>
                <a:lnTo>
                  <a:pt x="26656" y="7233920"/>
                </a:lnTo>
                <a:cubicBezTo>
                  <a:pt x="11934" y="7233920"/>
                  <a:pt x="0" y="7221986"/>
                  <a:pt x="0" y="7207264"/>
                </a:cubicBezTo>
                <a:lnTo>
                  <a:pt x="0" y="26656"/>
                </a:lnTo>
                <a:cubicBezTo>
                  <a:pt x="0" y="11934"/>
                  <a:pt x="11934" y="0"/>
                  <a:pt x="26656" y="0"/>
                </a:cubicBezTo>
                <a:close/>
              </a:path>
            </a:pathLst>
          </a:custGeom>
          <a:noFill/>
          <a:ln w="6350">
            <a:solidFill>
              <a:schemeClr val="accent1"/>
            </a:solidFill>
          </a:ln>
        </p:spPr>
        <p:txBody>
          <a:bodyPr wrap="square" lIns="0" tIns="0" rIns="0" bIns="0" anchor="ctr" anchorCtr="0">
            <a:noAutofit/>
          </a:bodyPr>
          <a:lstStyle>
            <a:lvl1pPr marL="0" indent="0" algn="ctr">
              <a:buFontTx/>
              <a:buNone/>
              <a:defRPr sz="800">
                <a:solidFill>
                  <a:schemeClr val="accent5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66263" y="1142482"/>
            <a:ext cx="2415741" cy="3528796"/>
          </a:xfrm>
          <a:prstGeom prst="rect">
            <a:avLst/>
          </a:prstGeom>
        </p:spPr>
      </p:pic>
      <p:sp>
        <p:nvSpPr>
          <p:cNvPr id="18" name="Picture Placeholder 25"/>
          <p:cNvSpPr>
            <a:spLocks noGrp="1"/>
          </p:cNvSpPr>
          <p:nvPr>
            <p:ph type="pic" sz="quarter" idx="18"/>
          </p:nvPr>
        </p:nvSpPr>
        <p:spPr>
          <a:xfrm>
            <a:off x="6750568" y="1703348"/>
            <a:ext cx="1230200" cy="2232025"/>
          </a:xfrm>
          <a:custGeom>
            <a:avLst/>
            <a:gdLst>
              <a:gd name="connsiteX0" fmla="*/ 26656 w 4082023"/>
              <a:gd name="connsiteY0" fmla="*/ 0 h 7233920"/>
              <a:gd name="connsiteX1" fmla="*/ 4055367 w 4082023"/>
              <a:gd name="connsiteY1" fmla="*/ 0 h 7233920"/>
              <a:gd name="connsiteX2" fmla="*/ 4082023 w 4082023"/>
              <a:gd name="connsiteY2" fmla="*/ 26656 h 7233920"/>
              <a:gd name="connsiteX3" fmla="*/ 4082023 w 4082023"/>
              <a:gd name="connsiteY3" fmla="*/ 7207264 h 7233920"/>
              <a:gd name="connsiteX4" fmla="*/ 4055367 w 4082023"/>
              <a:gd name="connsiteY4" fmla="*/ 7233920 h 7233920"/>
              <a:gd name="connsiteX5" fmla="*/ 26656 w 4082023"/>
              <a:gd name="connsiteY5" fmla="*/ 7233920 h 7233920"/>
              <a:gd name="connsiteX6" fmla="*/ 0 w 4082023"/>
              <a:gd name="connsiteY6" fmla="*/ 7207264 h 7233920"/>
              <a:gd name="connsiteX7" fmla="*/ 0 w 4082023"/>
              <a:gd name="connsiteY7" fmla="*/ 26656 h 7233920"/>
              <a:gd name="connsiteX8" fmla="*/ 26656 w 4082023"/>
              <a:gd name="connsiteY8" fmla="*/ 0 h 72339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082023" h="7233920">
                <a:moveTo>
                  <a:pt x="26656" y="0"/>
                </a:moveTo>
                <a:lnTo>
                  <a:pt x="4055367" y="0"/>
                </a:lnTo>
                <a:cubicBezTo>
                  <a:pt x="4070091" y="0"/>
                  <a:pt x="4082023" y="11934"/>
                  <a:pt x="4082023" y="26656"/>
                </a:cubicBezTo>
                <a:lnTo>
                  <a:pt x="4082023" y="7207264"/>
                </a:lnTo>
                <a:cubicBezTo>
                  <a:pt x="4082023" y="7221986"/>
                  <a:pt x="4070091" y="7233920"/>
                  <a:pt x="4055367" y="7233920"/>
                </a:cubicBezTo>
                <a:lnTo>
                  <a:pt x="26656" y="7233920"/>
                </a:lnTo>
                <a:cubicBezTo>
                  <a:pt x="11934" y="7233920"/>
                  <a:pt x="0" y="7221986"/>
                  <a:pt x="0" y="7207264"/>
                </a:cubicBezTo>
                <a:lnTo>
                  <a:pt x="0" y="26656"/>
                </a:lnTo>
                <a:cubicBezTo>
                  <a:pt x="0" y="11934"/>
                  <a:pt x="11934" y="0"/>
                  <a:pt x="26656" y="0"/>
                </a:cubicBezTo>
                <a:close/>
              </a:path>
            </a:pathLst>
          </a:custGeom>
          <a:noFill/>
          <a:ln w="6350">
            <a:solidFill>
              <a:schemeClr val="accent1"/>
            </a:solidFill>
          </a:ln>
        </p:spPr>
        <p:txBody>
          <a:bodyPr wrap="square" lIns="0" tIns="0" rIns="0" bIns="0" anchor="ctr" anchorCtr="0">
            <a:noAutofit/>
          </a:bodyPr>
          <a:lstStyle>
            <a:lvl1pPr marL="0" indent="0" algn="ctr">
              <a:buFontTx/>
              <a:buNone/>
              <a:defRPr sz="800">
                <a:solidFill>
                  <a:schemeClr val="accent5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9" name="Imagem 18">
            <a:extLst>
              <a:ext uri="{FF2B5EF4-FFF2-40B4-BE49-F238E27FC236}">
                <a16:creationId xmlns:a16="http://schemas.microsoft.com/office/drawing/2014/main" id="{C8C81356-6A91-4D54-A932-3D8DD43F63E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7127" y="4373217"/>
            <a:ext cx="716873" cy="7702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98616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extLst>
    <p:ext uri="{DCECCB84-F9BA-43D5-87BE-67443E8EF086}">
      <p15:sldGuideLst xmlns:p15="http://schemas.microsoft.com/office/powerpoint/2012/main">
        <p15:guide id="1" orient="horz" pos="2700">
          <p15:clr>
            <a:srgbClr val="FBAE40"/>
          </p15:clr>
        </p15:guide>
        <p15:guide id="2" pos="5384">
          <p15:clr>
            <a:srgbClr val="FBAE40"/>
          </p15:clr>
        </p15:guide>
        <p15:guide id="3" pos="374">
          <p15:clr>
            <a:srgbClr val="FBAE40"/>
          </p15:clr>
        </p15:guide>
        <p15:guide id="4" orient="horz" pos="306">
          <p15:clr>
            <a:srgbClr val="FBAE40"/>
          </p15:clr>
        </p15:guide>
        <p15:guide id="5" orient="horz" pos="972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e Conteúd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584202" y="575841"/>
            <a:ext cx="7953374" cy="383260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200" b="0" cap="all" spc="50" baseline="0">
                <a:solidFill>
                  <a:schemeClr val="accent1"/>
                </a:solidFill>
                <a:latin typeface="Lato Black" panose="020F0A02020204030203" pitchFamily="34" charset="0"/>
                <a:ea typeface="Roboto" panose="02000000000000000000" pitchFamily="2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 dirty="0"/>
              <a:t>CLIQUE PARA EDITAR O TÍTULO</a:t>
            </a:r>
          </a:p>
        </p:txBody>
      </p:sp>
      <p:sp>
        <p:nvSpPr>
          <p:cNvPr id="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593725" y="959101"/>
            <a:ext cx="7953374" cy="141344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ts val="1200"/>
              </a:lnSpc>
              <a:spcBef>
                <a:spcPts val="0"/>
              </a:spcBef>
              <a:buNone/>
              <a:defRPr sz="900" b="0" cap="none" spc="0" baseline="0">
                <a:solidFill>
                  <a:schemeClr val="accent4"/>
                </a:solidFill>
                <a:latin typeface="Lato" panose="020F0502020204030203" pitchFamily="34" charset="0"/>
                <a:ea typeface="Roboto" panose="02000000000000000000" pitchFamily="2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 dirty="0"/>
              <a:t>Clique para </a:t>
            </a:r>
            <a:r>
              <a:rPr lang="en-US" dirty="0" err="1"/>
              <a:t>editar</a:t>
            </a:r>
            <a:r>
              <a:rPr lang="en-US" dirty="0"/>
              <a:t> o </a:t>
            </a:r>
            <a:r>
              <a:rPr lang="en-US" dirty="0" err="1"/>
              <a:t>subtítulo</a:t>
            </a:r>
            <a:r>
              <a:rPr lang="en-US" dirty="0"/>
              <a:t> </a:t>
            </a: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593725" y="492067"/>
            <a:ext cx="914400" cy="0"/>
          </a:xfrm>
          <a:prstGeom prst="line">
            <a:avLst/>
          </a:prstGeom>
          <a:ln w="28575">
            <a:solidFill>
              <a:srgbClr val="EC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Imagem 12">
            <a:extLst>
              <a:ext uri="{FF2B5EF4-FFF2-40B4-BE49-F238E27FC236}">
                <a16:creationId xmlns:a16="http://schemas.microsoft.com/office/drawing/2014/main" id="{A7C41CD7-960B-4BA3-BE3B-8FB5670A3FB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7127" y="4373217"/>
            <a:ext cx="716873" cy="7702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52933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extLst>
    <p:ext uri="{DCECCB84-F9BA-43D5-87BE-67443E8EF086}">
      <p15:sldGuideLst xmlns:p15="http://schemas.microsoft.com/office/powerpoint/2012/main">
        <p15:guide id="1" orient="horz" pos="2700" userDrawn="1">
          <p15:clr>
            <a:srgbClr val="FBAE40"/>
          </p15:clr>
        </p15:guide>
        <p15:guide id="2" pos="5384" userDrawn="1">
          <p15:clr>
            <a:srgbClr val="FBAE40"/>
          </p15:clr>
        </p15:guide>
        <p15:guide id="3" pos="374" userDrawn="1">
          <p15:clr>
            <a:srgbClr val="FBAE40"/>
          </p15:clr>
        </p15:guide>
        <p15:guide id="4" orient="horz" pos="306" userDrawn="1">
          <p15:clr>
            <a:srgbClr val="FBAE40"/>
          </p15:clr>
        </p15:guide>
        <p15:guide id="5" orient="horz" pos="972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ckup iPhone fundo branc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584202" y="575841"/>
            <a:ext cx="7953374" cy="383260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200" b="0" cap="all" spc="50" baseline="0">
                <a:solidFill>
                  <a:schemeClr val="accent1"/>
                </a:solidFill>
                <a:latin typeface="Lato Black" panose="020F0A02020204030203" pitchFamily="34" charset="0"/>
                <a:ea typeface="Roboto" panose="02000000000000000000" pitchFamily="2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 dirty="0"/>
              <a:t>Clique para </a:t>
            </a:r>
            <a:r>
              <a:rPr lang="en-US" dirty="0" err="1"/>
              <a:t>editar</a:t>
            </a:r>
            <a:r>
              <a:rPr lang="en-US" dirty="0"/>
              <a:t> o </a:t>
            </a:r>
            <a:r>
              <a:rPr lang="en-US" dirty="0" err="1"/>
              <a:t>título</a:t>
            </a:r>
            <a:endParaRPr lang="en-US" dirty="0"/>
          </a:p>
        </p:txBody>
      </p:sp>
      <p:sp>
        <p:nvSpPr>
          <p:cNvPr id="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593725" y="959101"/>
            <a:ext cx="7953374" cy="141344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ts val="1200"/>
              </a:lnSpc>
              <a:spcBef>
                <a:spcPts val="0"/>
              </a:spcBef>
              <a:buNone/>
              <a:defRPr sz="900" b="0" cap="none" spc="0" baseline="0">
                <a:solidFill>
                  <a:schemeClr val="accent4"/>
                </a:solidFill>
                <a:latin typeface="Lato" panose="020F0502020204030203" pitchFamily="34" charset="0"/>
                <a:ea typeface="Roboto" panose="02000000000000000000" pitchFamily="2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 dirty="0"/>
              <a:t>Clique para </a:t>
            </a:r>
            <a:r>
              <a:rPr lang="en-US" dirty="0" err="1"/>
              <a:t>editar</a:t>
            </a:r>
            <a:r>
              <a:rPr lang="en-US" dirty="0"/>
              <a:t> o </a:t>
            </a:r>
            <a:r>
              <a:rPr lang="en-US" dirty="0" err="1"/>
              <a:t>subtítulo</a:t>
            </a:r>
            <a:endParaRPr lang="en-US" dirty="0"/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593725" y="492067"/>
            <a:ext cx="914400" cy="0"/>
          </a:xfrm>
          <a:prstGeom prst="line">
            <a:avLst/>
          </a:prstGeom>
          <a:ln w="28575">
            <a:solidFill>
              <a:srgbClr val="EC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71766" y="1194045"/>
            <a:ext cx="2415741" cy="3528796"/>
          </a:xfrm>
          <a:prstGeom prst="rect">
            <a:avLst/>
          </a:prstGeom>
        </p:spPr>
      </p:pic>
      <p:sp>
        <p:nvSpPr>
          <p:cNvPr id="14" name="Picture Placeholder 25"/>
          <p:cNvSpPr>
            <a:spLocks noGrp="1"/>
          </p:cNvSpPr>
          <p:nvPr>
            <p:ph type="pic" sz="quarter" idx="17"/>
          </p:nvPr>
        </p:nvSpPr>
        <p:spPr>
          <a:xfrm>
            <a:off x="2156071" y="1754911"/>
            <a:ext cx="1230200" cy="2232025"/>
          </a:xfrm>
          <a:custGeom>
            <a:avLst/>
            <a:gdLst>
              <a:gd name="connsiteX0" fmla="*/ 26656 w 4082023"/>
              <a:gd name="connsiteY0" fmla="*/ 0 h 7233920"/>
              <a:gd name="connsiteX1" fmla="*/ 4055367 w 4082023"/>
              <a:gd name="connsiteY1" fmla="*/ 0 h 7233920"/>
              <a:gd name="connsiteX2" fmla="*/ 4082023 w 4082023"/>
              <a:gd name="connsiteY2" fmla="*/ 26656 h 7233920"/>
              <a:gd name="connsiteX3" fmla="*/ 4082023 w 4082023"/>
              <a:gd name="connsiteY3" fmla="*/ 7207264 h 7233920"/>
              <a:gd name="connsiteX4" fmla="*/ 4055367 w 4082023"/>
              <a:gd name="connsiteY4" fmla="*/ 7233920 h 7233920"/>
              <a:gd name="connsiteX5" fmla="*/ 26656 w 4082023"/>
              <a:gd name="connsiteY5" fmla="*/ 7233920 h 7233920"/>
              <a:gd name="connsiteX6" fmla="*/ 0 w 4082023"/>
              <a:gd name="connsiteY6" fmla="*/ 7207264 h 7233920"/>
              <a:gd name="connsiteX7" fmla="*/ 0 w 4082023"/>
              <a:gd name="connsiteY7" fmla="*/ 26656 h 7233920"/>
              <a:gd name="connsiteX8" fmla="*/ 26656 w 4082023"/>
              <a:gd name="connsiteY8" fmla="*/ 0 h 72339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082023" h="7233920">
                <a:moveTo>
                  <a:pt x="26656" y="0"/>
                </a:moveTo>
                <a:lnTo>
                  <a:pt x="4055367" y="0"/>
                </a:lnTo>
                <a:cubicBezTo>
                  <a:pt x="4070091" y="0"/>
                  <a:pt x="4082023" y="11934"/>
                  <a:pt x="4082023" y="26656"/>
                </a:cubicBezTo>
                <a:lnTo>
                  <a:pt x="4082023" y="7207264"/>
                </a:lnTo>
                <a:cubicBezTo>
                  <a:pt x="4082023" y="7221986"/>
                  <a:pt x="4070091" y="7233920"/>
                  <a:pt x="4055367" y="7233920"/>
                </a:cubicBezTo>
                <a:lnTo>
                  <a:pt x="26656" y="7233920"/>
                </a:lnTo>
                <a:cubicBezTo>
                  <a:pt x="11934" y="7233920"/>
                  <a:pt x="0" y="7221986"/>
                  <a:pt x="0" y="7207264"/>
                </a:cubicBezTo>
                <a:lnTo>
                  <a:pt x="0" y="26656"/>
                </a:lnTo>
                <a:cubicBezTo>
                  <a:pt x="0" y="11934"/>
                  <a:pt x="11934" y="0"/>
                  <a:pt x="26656" y="0"/>
                </a:cubicBezTo>
                <a:close/>
              </a:path>
            </a:pathLst>
          </a:custGeom>
          <a:noFill/>
          <a:ln w="6350">
            <a:solidFill>
              <a:schemeClr val="accent1"/>
            </a:solidFill>
          </a:ln>
        </p:spPr>
        <p:txBody>
          <a:bodyPr wrap="square" lIns="0" tIns="0" rIns="0" bIns="0" anchor="ctr" anchorCtr="0">
            <a:noAutofit/>
          </a:bodyPr>
          <a:lstStyle>
            <a:lvl1pPr marL="0" indent="0" algn="ctr">
              <a:buFontTx/>
              <a:buNone/>
              <a:defRPr sz="800">
                <a:solidFill>
                  <a:schemeClr val="accent5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04323" y="1194045"/>
            <a:ext cx="2415741" cy="3528796"/>
          </a:xfrm>
          <a:prstGeom prst="rect">
            <a:avLst/>
          </a:prstGeom>
        </p:spPr>
      </p:pic>
      <p:sp>
        <p:nvSpPr>
          <p:cNvPr id="18" name="Picture Placeholder 25"/>
          <p:cNvSpPr>
            <a:spLocks noGrp="1"/>
          </p:cNvSpPr>
          <p:nvPr>
            <p:ph type="pic" sz="quarter" idx="18"/>
          </p:nvPr>
        </p:nvSpPr>
        <p:spPr>
          <a:xfrm>
            <a:off x="3788628" y="1754911"/>
            <a:ext cx="1230200" cy="2232025"/>
          </a:xfrm>
          <a:custGeom>
            <a:avLst/>
            <a:gdLst>
              <a:gd name="connsiteX0" fmla="*/ 26656 w 4082023"/>
              <a:gd name="connsiteY0" fmla="*/ 0 h 7233920"/>
              <a:gd name="connsiteX1" fmla="*/ 4055367 w 4082023"/>
              <a:gd name="connsiteY1" fmla="*/ 0 h 7233920"/>
              <a:gd name="connsiteX2" fmla="*/ 4082023 w 4082023"/>
              <a:gd name="connsiteY2" fmla="*/ 26656 h 7233920"/>
              <a:gd name="connsiteX3" fmla="*/ 4082023 w 4082023"/>
              <a:gd name="connsiteY3" fmla="*/ 7207264 h 7233920"/>
              <a:gd name="connsiteX4" fmla="*/ 4055367 w 4082023"/>
              <a:gd name="connsiteY4" fmla="*/ 7233920 h 7233920"/>
              <a:gd name="connsiteX5" fmla="*/ 26656 w 4082023"/>
              <a:gd name="connsiteY5" fmla="*/ 7233920 h 7233920"/>
              <a:gd name="connsiteX6" fmla="*/ 0 w 4082023"/>
              <a:gd name="connsiteY6" fmla="*/ 7207264 h 7233920"/>
              <a:gd name="connsiteX7" fmla="*/ 0 w 4082023"/>
              <a:gd name="connsiteY7" fmla="*/ 26656 h 7233920"/>
              <a:gd name="connsiteX8" fmla="*/ 26656 w 4082023"/>
              <a:gd name="connsiteY8" fmla="*/ 0 h 72339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082023" h="7233920">
                <a:moveTo>
                  <a:pt x="26656" y="0"/>
                </a:moveTo>
                <a:lnTo>
                  <a:pt x="4055367" y="0"/>
                </a:lnTo>
                <a:cubicBezTo>
                  <a:pt x="4070091" y="0"/>
                  <a:pt x="4082023" y="11934"/>
                  <a:pt x="4082023" y="26656"/>
                </a:cubicBezTo>
                <a:lnTo>
                  <a:pt x="4082023" y="7207264"/>
                </a:lnTo>
                <a:cubicBezTo>
                  <a:pt x="4082023" y="7221986"/>
                  <a:pt x="4070091" y="7233920"/>
                  <a:pt x="4055367" y="7233920"/>
                </a:cubicBezTo>
                <a:lnTo>
                  <a:pt x="26656" y="7233920"/>
                </a:lnTo>
                <a:cubicBezTo>
                  <a:pt x="11934" y="7233920"/>
                  <a:pt x="0" y="7221986"/>
                  <a:pt x="0" y="7207264"/>
                </a:cubicBezTo>
                <a:lnTo>
                  <a:pt x="0" y="26656"/>
                </a:lnTo>
                <a:cubicBezTo>
                  <a:pt x="0" y="11934"/>
                  <a:pt x="11934" y="0"/>
                  <a:pt x="26656" y="0"/>
                </a:cubicBezTo>
                <a:close/>
              </a:path>
            </a:pathLst>
          </a:custGeom>
          <a:noFill/>
          <a:ln w="6350">
            <a:solidFill>
              <a:schemeClr val="accent1"/>
            </a:solidFill>
          </a:ln>
        </p:spPr>
        <p:txBody>
          <a:bodyPr wrap="square" lIns="0" tIns="0" rIns="0" bIns="0" anchor="ctr" anchorCtr="0">
            <a:noAutofit/>
          </a:bodyPr>
          <a:lstStyle>
            <a:lvl1pPr marL="0" indent="0" algn="ctr">
              <a:buFontTx/>
              <a:buNone/>
              <a:defRPr sz="800">
                <a:solidFill>
                  <a:schemeClr val="accent5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53811" y="1194045"/>
            <a:ext cx="2415741" cy="3528796"/>
          </a:xfrm>
          <a:prstGeom prst="rect">
            <a:avLst/>
          </a:prstGeom>
        </p:spPr>
      </p:pic>
      <p:sp>
        <p:nvSpPr>
          <p:cNvPr id="20" name="Picture Placeholder 25"/>
          <p:cNvSpPr>
            <a:spLocks noGrp="1"/>
          </p:cNvSpPr>
          <p:nvPr>
            <p:ph type="pic" sz="quarter" idx="19"/>
          </p:nvPr>
        </p:nvSpPr>
        <p:spPr>
          <a:xfrm>
            <a:off x="5438116" y="1754911"/>
            <a:ext cx="1230200" cy="2232025"/>
          </a:xfrm>
          <a:custGeom>
            <a:avLst/>
            <a:gdLst>
              <a:gd name="connsiteX0" fmla="*/ 26656 w 4082023"/>
              <a:gd name="connsiteY0" fmla="*/ 0 h 7233920"/>
              <a:gd name="connsiteX1" fmla="*/ 4055367 w 4082023"/>
              <a:gd name="connsiteY1" fmla="*/ 0 h 7233920"/>
              <a:gd name="connsiteX2" fmla="*/ 4082023 w 4082023"/>
              <a:gd name="connsiteY2" fmla="*/ 26656 h 7233920"/>
              <a:gd name="connsiteX3" fmla="*/ 4082023 w 4082023"/>
              <a:gd name="connsiteY3" fmla="*/ 7207264 h 7233920"/>
              <a:gd name="connsiteX4" fmla="*/ 4055367 w 4082023"/>
              <a:gd name="connsiteY4" fmla="*/ 7233920 h 7233920"/>
              <a:gd name="connsiteX5" fmla="*/ 26656 w 4082023"/>
              <a:gd name="connsiteY5" fmla="*/ 7233920 h 7233920"/>
              <a:gd name="connsiteX6" fmla="*/ 0 w 4082023"/>
              <a:gd name="connsiteY6" fmla="*/ 7207264 h 7233920"/>
              <a:gd name="connsiteX7" fmla="*/ 0 w 4082023"/>
              <a:gd name="connsiteY7" fmla="*/ 26656 h 7233920"/>
              <a:gd name="connsiteX8" fmla="*/ 26656 w 4082023"/>
              <a:gd name="connsiteY8" fmla="*/ 0 h 72339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082023" h="7233920">
                <a:moveTo>
                  <a:pt x="26656" y="0"/>
                </a:moveTo>
                <a:lnTo>
                  <a:pt x="4055367" y="0"/>
                </a:lnTo>
                <a:cubicBezTo>
                  <a:pt x="4070091" y="0"/>
                  <a:pt x="4082023" y="11934"/>
                  <a:pt x="4082023" y="26656"/>
                </a:cubicBezTo>
                <a:lnTo>
                  <a:pt x="4082023" y="7207264"/>
                </a:lnTo>
                <a:cubicBezTo>
                  <a:pt x="4082023" y="7221986"/>
                  <a:pt x="4070091" y="7233920"/>
                  <a:pt x="4055367" y="7233920"/>
                </a:cubicBezTo>
                <a:lnTo>
                  <a:pt x="26656" y="7233920"/>
                </a:lnTo>
                <a:cubicBezTo>
                  <a:pt x="11934" y="7233920"/>
                  <a:pt x="0" y="7221986"/>
                  <a:pt x="0" y="7207264"/>
                </a:cubicBezTo>
                <a:lnTo>
                  <a:pt x="0" y="26656"/>
                </a:lnTo>
                <a:cubicBezTo>
                  <a:pt x="0" y="11934"/>
                  <a:pt x="11934" y="0"/>
                  <a:pt x="26656" y="0"/>
                </a:cubicBezTo>
                <a:close/>
              </a:path>
            </a:pathLst>
          </a:custGeom>
          <a:noFill/>
          <a:ln w="6350">
            <a:solidFill>
              <a:schemeClr val="accent1"/>
            </a:solidFill>
          </a:ln>
        </p:spPr>
        <p:txBody>
          <a:bodyPr wrap="square" lIns="0" tIns="0" rIns="0" bIns="0" anchor="ctr" anchorCtr="0">
            <a:noAutofit/>
          </a:bodyPr>
          <a:lstStyle>
            <a:lvl1pPr marL="0" indent="0" algn="ctr">
              <a:buFontTx/>
              <a:buNone/>
              <a:defRPr sz="800">
                <a:solidFill>
                  <a:schemeClr val="accent5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endParaRPr lang="en-US"/>
          </a:p>
        </p:txBody>
      </p:sp>
      <p:pic>
        <p:nvPicPr>
          <p:cNvPr id="21" name="Imagem 20">
            <a:extLst>
              <a:ext uri="{FF2B5EF4-FFF2-40B4-BE49-F238E27FC236}">
                <a16:creationId xmlns:a16="http://schemas.microsoft.com/office/drawing/2014/main" id="{34AF7096-8286-42D0-9039-E3AE08A1F70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7127" y="4373217"/>
            <a:ext cx="716873" cy="7702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35979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extLst>
    <p:ext uri="{DCECCB84-F9BA-43D5-87BE-67443E8EF086}">
      <p15:sldGuideLst xmlns:p15="http://schemas.microsoft.com/office/powerpoint/2012/main">
        <p15:guide id="1" orient="horz" pos="2700">
          <p15:clr>
            <a:srgbClr val="FBAE40"/>
          </p15:clr>
        </p15:guide>
        <p15:guide id="2" pos="5384">
          <p15:clr>
            <a:srgbClr val="FBAE40"/>
          </p15:clr>
        </p15:guide>
        <p15:guide id="3" pos="374">
          <p15:clr>
            <a:srgbClr val="FBAE40"/>
          </p15:clr>
        </p15:guide>
        <p15:guide id="4" orient="horz" pos="306">
          <p15:clr>
            <a:srgbClr val="FBAE40"/>
          </p15:clr>
        </p15:guide>
        <p15:guide id="5" orient="horz" pos="97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ckup iPhone fundo branco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Picture 28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90362" y="1100444"/>
            <a:ext cx="2918752" cy="4043055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584202" y="575841"/>
            <a:ext cx="7953374" cy="383260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200" b="0" cap="all" spc="50" baseline="0">
                <a:solidFill>
                  <a:schemeClr val="accent1"/>
                </a:solidFill>
                <a:latin typeface="Lato Black" panose="020F0A02020204030203" pitchFamily="34" charset="0"/>
                <a:ea typeface="Roboto" panose="02000000000000000000" pitchFamily="2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 dirty="0"/>
              <a:t>Clique para </a:t>
            </a:r>
            <a:r>
              <a:rPr lang="en-US" dirty="0" err="1"/>
              <a:t>editar</a:t>
            </a:r>
            <a:r>
              <a:rPr lang="en-US" dirty="0"/>
              <a:t> o </a:t>
            </a:r>
            <a:r>
              <a:rPr lang="en-US" dirty="0" err="1"/>
              <a:t>título</a:t>
            </a:r>
            <a:endParaRPr lang="en-US" dirty="0"/>
          </a:p>
        </p:txBody>
      </p:sp>
      <p:sp>
        <p:nvSpPr>
          <p:cNvPr id="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593725" y="959101"/>
            <a:ext cx="7953374" cy="141344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ts val="1200"/>
              </a:lnSpc>
              <a:spcBef>
                <a:spcPts val="0"/>
              </a:spcBef>
              <a:buNone/>
              <a:defRPr sz="900" b="0" cap="none" spc="0" baseline="0">
                <a:solidFill>
                  <a:schemeClr val="accent4"/>
                </a:solidFill>
                <a:latin typeface="Lato" panose="020F0502020204030203" pitchFamily="34" charset="0"/>
                <a:ea typeface="Roboto" panose="02000000000000000000" pitchFamily="2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 dirty="0"/>
              <a:t>Clique para </a:t>
            </a:r>
            <a:r>
              <a:rPr lang="en-US" dirty="0" err="1"/>
              <a:t>editar</a:t>
            </a:r>
            <a:r>
              <a:rPr lang="en-US" dirty="0"/>
              <a:t> o </a:t>
            </a:r>
            <a:r>
              <a:rPr lang="en-US" dirty="0" err="1"/>
              <a:t>subtítulo</a:t>
            </a:r>
            <a:endParaRPr lang="en-US" dirty="0"/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593725" y="492067"/>
            <a:ext cx="914400" cy="0"/>
          </a:xfrm>
          <a:prstGeom prst="line">
            <a:avLst/>
          </a:prstGeom>
          <a:ln w="28575">
            <a:solidFill>
              <a:srgbClr val="EC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Picture Placeholder 25"/>
          <p:cNvSpPr>
            <a:spLocks noGrp="1"/>
          </p:cNvSpPr>
          <p:nvPr>
            <p:ph type="pic" sz="quarter" idx="17"/>
          </p:nvPr>
        </p:nvSpPr>
        <p:spPr>
          <a:xfrm>
            <a:off x="5278966" y="1689100"/>
            <a:ext cx="2209799" cy="3454399"/>
          </a:xfrm>
          <a:custGeom>
            <a:avLst/>
            <a:gdLst>
              <a:gd name="connsiteX0" fmla="*/ 26656 w 4082023"/>
              <a:gd name="connsiteY0" fmla="*/ 0 h 7233920"/>
              <a:gd name="connsiteX1" fmla="*/ 4055367 w 4082023"/>
              <a:gd name="connsiteY1" fmla="*/ 0 h 7233920"/>
              <a:gd name="connsiteX2" fmla="*/ 4082023 w 4082023"/>
              <a:gd name="connsiteY2" fmla="*/ 26656 h 7233920"/>
              <a:gd name="connsiteX3" fmla="*/ 4082023 w 4082023"/>
              <a:gd name="connsiteY3" fmla="*/ 7207264 h 7233920"/>
              <a:gd name="connsiteX4" fmla="*/ 4055367 w 4082023"/>
              <a:gd name="connsiteY4" fmla="*/ 7233920 h 7233920"/>
              <a:gd name="connsiteX5" fmla="*/ 26656 w 4082023"/>
              <a:gd name="connsiteY5" fmla="*/ 7233920 h 7233920"/>
              <a:gd name="connsiteX6" fmla="*/ 0 w 4082023"/>
              <a:gd name="connsiteY6" fmla="*/ 7207264 h 7233920"/>
              <a:gd name="connsiteX7" fmla="*/ 0 w 4082023"/>
              <a:gd name="connsiteY7" fmla="*/ 26656 h 7233920"/>
              <a:gd name="connsiteX8" fmla="*/ 26656 w 4082023"/>
              <a:gd name="connsiteY8" fmla="*/ 0 h 72339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082023" h="7233920">
                <a:moveTo>
                  <a:pt x="26656" y="0"/>
                </a:moveTo>
                <a:lnTo>
                  <a:pt x="4055367" y="0"/>
                </a:lnTo>
                <a:cubicBezTo>
                  <a:pt x="4070091" y="0"/>
                  <a:pt x="4082023" y="11934"/>
                  <a:pt x="4082023" y="26656"/>
                </a:cubicBezTo>
                <a:lnTo>
                  <a:pt x="4082023" y="7207264"/>
                </a:lnTo>
                <a:cubicBezTo>
                  <a:pt x="4082023" y="7221986"/>
                  <a:pt x="4070091" y="7233920"/>
                  <a:pt x="4055367" y="7233920"/>
                </a:cubicBezTo>
                <a:lnTo>
                  <a:pt x="26656" y="7233920"/>
                </a:lnTo>
                <a:cubicBezTo>
                  <a:pt x="11934" y="7233920"/>
                  <a:pt x="0" y="7221986"/>
                  <a:pt x="0" y="7207264"/>
                </a:cubicBezTo>
                <a:lnTo>
                  <a:pt x="0" y="26656"/>
                </a:lnTo>
                <a:cubicBezTo>
                  <a:pt x="0" y="11934"/>
                  <a:pt x="11934" y="0"/>
                  <a:pt x="26656" y="0"/>
                </a:cubicBezTo>
                <a:close/>
              </a:path>
            </a:pathLst>
          </a:custGeom>
          <a:noFill/>
          <a:ln w="6350">
            <a:solidFill>
              <a:schemeClr val="accent1"/>
            </a:solidFill>
          </a:ln>
        </p:spPr>
        <p:txBody>
          <a:bodyPr wrap="square" lIns="0" tIns="0" rIns="0" bIns="0" anchor="ctr" anchorCtr="0">
            <a:noAutofit/>
          </a:bodyPr>
          <a:lstStyle>
            <a:lvl1pPr marL="0" indent="0" algn="ctr">
              <a:buFontTx/>
              <a:buNone/>
              <a:defRPr sz="800">
                <a:solidFill>
                  <a:schemeClr val="accent5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1" name="Imagem 10">
            <a:extLst>
              <a:ext uri="{FF2B5EF4-FFF2-40B4-BE49-F238E27FC236}">
                <a16:creationId xmlns:a16="http://schemas.microsoft.com/office/drawing/2014/main" id="{B4D3E290-753A-4EAC-B71D-DDFFAA6CB73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7127" y="4373217"/>
            <a:ext cx="716873" cy="7702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3349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extLst>
    <p:ext uri="{DCECCB84-F9BA-43D5-87BE-67443E8EF086}">
      <p15:sldGuideLst xmlns:p15="http://schemas.microsoft.com/office/powerpoint/2012/main">
        <p15:guide id="1" orient="horz" pos="2700">
          <p15:clr>
            <a:srgbClr val="FBAE40"/>
          </p15:clr>
        </p15:guide>
        <p15:guide id="2" pos="5384">
          <p15:clr>
            <a:srgbClr val="FBAE40"/>
          </p15:clr>
        </p15:guide>
        <p15:guide id="3" pos="374">
          <p15:clr>
            <a:srgbClr val="FBAE40"/>
          </p15:clr>
        </p15:guide>
        <p15:guide id="4" orient="horz" pos="306">
          <p15:clr>
            <a:srgbClr val="FBAE40"/>
          </p15:clr>
        </p15:guide>
        <p15:guide id="5" orient="horz" pos="972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ckup iPhone fundo branco 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88" y="185298"/>
            <a:ext cx="3129491" cy="4571407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3242733" y="575841"/>
            <a:ext cx="5294843" cy="383260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200" b="0" cap="all" spc="50" baseline="0">
                <a:solidFill>
                  <a:schemeClr val="accent1"/>
                </a:solidFill>
                <a:latin typeface="Lato Black" panose="020F0A02020204030203" pitchFamily="34" charset="0"/>
                <a:ea typeface="Roboto" panose="02000000000000000000" pitchFamily="2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 dirty="0"/>
              <a:t>Clique para </a:t>
            </a:r>
            <a:r>
              <a:rPr lang="en-US" dirty="0" err="1"/>
              <a:t>editar</a:t>
            </a:r>
            <a:r>
              <a:rPr lang="en-US" dirty="0"/>
              <a:t> o </a:t>
            </a:r>
            <a:r>
              <a:rPr lang="en-US" dirty="0" err="1"/>
              <a:t>título</a:t>
            </a:r>
            <a:endParaRPr lang="en-US" dirty="0"/>
          </a:p>
        </p:txBody>
      </p:sp>
      <p:sp>
        <p:nvSpPr>
          <p:cNvPr id="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242416" y="959101"/>
            <a:ext cx="5304684" cy="141344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ts val="1200"/>
              </a:lnSpc>
              <a:spcBef>
                <a:spcPts val="0"/>
              </a:spcBef>
              <a:buNone/>
              <a:defRPr sz="900" b="0" cap="none" spc="0" baseline="0">
                <a:solidFill>
                  <a:schemeClr val="accent4"/>
                </a:solidFill>
                <a:latin typeface="Lato" panose="020F0502020204030203" pitchFamily="34" charset="0"/>
                <a:ea typeface="Roboto" panose="02000000000000000000" pitchFamily="2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 dirty="0"/>
              <a:t>Clique para </a:t>
            </a:r>
            <a:r>
              <a:rPr lang="en-US" dirty="0" err="1"/>
              <a:t>editar</a:t>
            </a:r>
            <a:r>
              <a:rPr lang="en-US" dirty="0"/>
              <a:t> o </a:t>
            </a:r>
            <a:r>
              <a:rPr lang="en-US" dirty="0" err="1"/>
              <a:t>subtítulo</a:t>
            </a:r>
            <a:endParaRPr lang="en-US" dirty="0"/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3242416" y="492067"/>
            <a:ext cx="914400" cy="0"/>
          </a:xfrm>
          <a:prstGeom prst="line">
            <a:avLst/>
          </a:prstGeom>
          <a:ln w="28575">
            <a:solidFill>
              <a:srgbClr val="EC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Picture Placeholder 25"/>
          <p:cNvSpPr>
            <a:spLocks noGrp="1"/>
          </p:cNvSpPr>
          <p:nvPr>
            <p:ph type="pic" sz="quarter" idx="17"/>
          </p:nvPr>
        </p:nvSpPr>
        <p:spPr>
          <a:xfrm>
            <a:off x="800011" y="912452"/>
            <a:ext cx="1552896" cy="2917902"/>
          </a:xfrm>
          <a:custGeom>
            <a:avLst/>
            <a:gdLst>
              <a:gd name="connsiteX0" fmla="*/ 26656 w 4082023"/>
              <a:gd name="connsiteY0" fmla="*/ 0 h 7233920"/>
              <a:gd name="connsiteX1" fmla="*/ 4055367 w 4082023"/>
              <a:gd name="connsiteY1" fmla="*/ 0 h 7233920"/>
              <a:gd name="connsiteX2" fmla="*/ 4082023 w 4082023"/>
              <a:gd name="connsiteY2" fmla="*/ 26656 h 7233920"/>
              <a:gd name="connsiteX3" fmla="*/ 4082023 w 4082023"/>
              <a:gd name="connsiteY3" fmla="*/ 7207264 h 7233920"/>
              <a:gd name="connsiteX4" fmla="*/ 4055367 w 4082023"/>
              <a:gd name="connsiteY4" fmla="*/ 7233920 h 7233920"/>
              <a:gd name="connsiteX5" fmla="*/ 26656 w 4082023"/>
              <a:gd name="connsiteY5" fmla="*/ 7233920 h 7233920"/>
              <a:gd name="connsiteX6" fmla="*/ 0 w 4082023"/>
              <a:gd name="connsiteY6" fmla="*/ 7207264 h 7233920"/>
              <a:gd name="connsiteX7" fmla="*/ 0 w 4082023"/>
              <a:gd name="connsiteY7" fmla="*/ 26656 h 7233920"/>
              <a:gd name="connsiteX8" fmla="*/ 26656 w 4082023"/>
              <a:gd name="connsiteY8" fmla="*/ 0 h 72339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082023" h="7233920">
                <a:moveTo>
                  <a:pt x="26656" y="0"/>
                </a:moveTo>
                <a:lnTo>
                  <a:pt x="4055367" y="0"/>
                </a:lnTo>
                <a:cubicBezTo>
                  <a:pt x="4070091" y="0"/>
                  <a:pt x="4082023" y="11934"/>
                  <a:pt x="4082023" y="26656"/>
                </a:cubicBezTo>
                <a:lnTo>
                  <a:pt x="4082023" y="7207264"/>
                </a:lnTo>
                <a:cubicBezTo>
                  <a:pt x="4082023" y="7221986"/>
                  <a:pt x="4070091" y="7233920"/>
                  <a:pt x="4055367" y="7233920"/>
                </a:cubicBezTo>
                <a:lnTo>
                  <a:pt x="26656" y="7233920"/>
                </a:lnTo>
                <a:cubicBezTo>
                  <a:pt x="11934" y="7233920"/>
                  <a:pt x="0" y="7221986"/>
                  <a:pt x="0" y="7207264"/>
                </a:cubicBezTo>
                <a:lnTo>
                  <a:pt x="0" y="26656"/>
                </a:lnTo>
                <a:cubicBezTo>
                  <a:pt x="0" y="11934"/>
                  <a:pt x="11934" y="0"/>
                  <a:pt x="26656" y="0"/>
                </a:cubicBezTo>
                <a:close/>
              </a:path>
            </a:pathLst>
          </a:custGeom>
          <a:noFill/>
          <a:ln w="6350">
            <a:solidFill>
              <a:schemeClr val="accent1"/>
            </a:solidFill>
          </a:ln>
        </p:spPr>
        <p:txBody>
          <a:bodyPr wrap="square" lIns="0" tIns="0" rIns="0" bIns="0" anchor="ctr" anchorCtr="0">
            <a:noAutofit/>
          </a:bodyPr>
          <a:lstStyle>
            <a:lvl1pPr marL="0" indent="0" algn="ctr">
              <a:buFontTx/>
              <a:buNone/>
              <a:defRPr sz="800">
                <a:solidFill>
                  <a:schemeClr val="accent5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2" name="Imagem 11">
            <a:extLst>
              <a:ext uri="{FF2B5EF4-FFF2-40B4-BE49-F238E27FC236}">
                <a16:creationId xmlns:a16="http://schemas.microsoft.com/office/drawing/2014/main" id="{DDEDB86E-3636-444C-8775-501D1C3AB7D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7127" y="4373217"/>
            <a:ext cx="716873" cy="7702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37763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extLst>
    <p:ext uri="{DCECCB84-F9BA-43D5-87BE-67443E8EF086}">
      <p15:sldGuideLst xmlns:p15="http://schemas.microsoft.com/office/powerpoint/2012/main">
        <p15:guide id="1" orient="horz" pos="2700">
          <p15:clr>
            <a:srgbClr val="FBAE40"/>
          </p15:clr>
        </p15:guide>
        <p15:guide id="2" pos="5384">
          <p15:clr>
            <a:srgbClr val="FBAE40"/>
          </p15:clr>
        </p15:guide>
        <p15:guide id="3" pos="374">
          <p15:clr>
            <a:srgbClr val="FBAE40"/>
          </p15:clr>
        </p15:guide>
        <p15:guide id="4" orient="horz" pos="306">
          <p15:clr>
            <a:srgbClr val="FBAE40"/>
          </p15:clr>
        </p15:guide>
        <p15:guide id="5" orient="horz" pos="972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sktop mockup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EC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584202" y="575841"/>
            <a:ext cx="7953374" cy="383260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200" b="0" cap="all" spc="50" baseline="0">
                <a:solidFill>
                  <a:schemeClr val="bg1"/>
                </a:solidFill>
                <a:latin typeface="Lato Black" panose="020F0A02020204030203" pitchFamily="34" charset="0"/>
                <a:ea typeface="Roboto" panose="02000000000000000000" pitchFamily="2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 dirty="0"/>
              <a:t>Clique para </a:t>
            </a:r>
            <a:r>
              <a:rPr lang="en-US" dirty="0" err="1"/>
              <a:t>editar</a:t>
            </a:r>
            <a:r>
              <a:rPr lang="en-US" dirty="0"/>
              <a:t> o </a:t>
            </a:r>
            <a:r>
              <a:rPr lang="en-US" dirty="0" err="1"/>
              <a:t>título</a:t>
            </a:r>
            <a:endParaRPr lang="en-US" dirty="0"/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593725" y="959101"/>
            <a:ext cx="7953374" cy="141344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ts val="1200"/>
              </a:lnSpc>
              <a:spcBef>
                <a:spcPts val="0"/>
              </a:spcBef>
              <a:buNone/>
              <a:defRPr sz="900" b="0" cap="none" spc="0" baseline="0">
                <a:solidFill>
                  <a:schemeClr val="bg1"/>
                </a:solidFill>
                <a:latin typeface="Lato" panose="020F0502020204030203" pitchFamily="34" charset="0"/>
                <a:ea typeface="Roboto" panose="02000000000000000000" pitchFamily="2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 dirty="0"/>
              <a:t>Clique para </a:t>
            </a:r>
            <a:r>
              <a:rPr lang="en-US" dirty="0" err="1"/>
              <a:t>editar</a:t>
            </a:r>
            <a:r>
              <a:rPr lang="en-US" dirty="0"/>
              <a:t> o </a:t>
            </a:r>
            <a:r>
              <a:rPr lang="en-US" dirty="0" err="1"/>
              <a:t>subtítulo</a:t>
            </a:r>
            <a:endParaRPr lang="en-US" dirty="0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593725" y="492067"/>
            <a:ext cx="914400" cy="0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Picture Placeholder 33"/>
          <p:cNvSpPr>
            <a:spLocks noGrp="1"/>
          </p:cNvSpPr>
          <p:nvPr>
            <p:ph type="pic" sz="quarter" idx="12"/>
          </p:nvPr>
        </p:nvSpPr>
        <p:spPr>
          <a:xfrm>
            <a:off x="1614488" y="1471670"/>
            <a:ext cx="5915025" cy="3186055"/>
          </a:xfrm>
          <a:custGeom>
            <a:avLst/>
            <a:gdLst>
              <a:gd name="connsiteX0" fmla="*/ 0 w 5915025"/>
              <a:gd name="connsiteY0" fmla="*/ 0 h 3326159"/>
              <a:gd name="connsiteX1" fmla="*/ 5915025 w 5915025"/>
              <a:gd name="connsiteY1" fmla="*/ 0 h 3326159"/>
              <a:gd name="connsiteX2" fmla="*/ 5915025 w 5915025"/>
              <a:gd name="connsiteY2" fmla="*/ 3326159 h 3326159"/>
              <a:gd name="connsiteX3" fmla="*/ 0 w 5915025"/>
              <a:gd name="connsiteY3" fmla="*/ 3326159 h 33261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915025" h="3326159">
                <a:moveTo>
                  <a:pt x="0" y="0"/>
                </a:moveTo>
                <a:lnTo>
                  <a:pt x="5915025" y="0"/>
                </a:lnTo>
                <a:lnTo>
                  <a:pt x="5915025" y="3326159"/>
                </a:lnTo>
                <a:lnTo>
                  <a:pt x="0" y="3326159"/>
                </a:lnTo>
                <a:close/>
              </a:path>
            </a:pathLst>
          </a:custGeom>
        </p:spPr>
        <p:txBody>
          <a:bodyPr wrap="square" anchor="ctr" anchorCtr="0">
            <a:noAutofit/>
          </a:bodyPr>
          <a:lstStyle>
            <a:lvl1pPr marL="0" indent="0" algn="ctr">
              <a:buFontTx/>
              <a:buNone/>
              <a:defRPr sz="1000">
                <a:solidFill>
                  <a:schemeClr val="accent6"/>
                </a:solidFill>
                <a:latin typeface="Lato" panose="020F0502020204030203" pitchFamily="34" charset="0"/>
              </a:defRPr>
            </a:lvl1pPr>
          </a:lstStyle>
          <a:p>
            <a:endParaRPr lang="en-US"/>
          </a:p>
        </p:txBody>
      </p:sp>
      <p:sp>
        <p:nvSpPr>
          <p:cNvPr id="21" name="Freeform 20"/>
          <p:cNvSpPr/>
          <p:nvPr userDrawn="1"/>
        </p:nvSpPr>
        <p:spPr>
          <a:xfrm>
            <a:off x="1614488" y="1318534"/>
            <a:ext cx="5915025" cy="156764"/>
          </a:xfrm>
          <a:custGeom>
            <a:avLst/>
            <a:gdLst>
              <a:gd name="connsiteX0" fmla="*/ 116359 w 15763003"/>
              <a:gd name="connsiteY0" fmla="*/ 0 h 418038"/>
              <a:gd name="connsiteX1" fmla="*/ 15646645 w 15763003"/>
              <a:gd name="connsiteY1" fmla="*/ 0 h 418038"/>
              <a:gd name="connsiteX2" fmla="*/ 15763003 w 15763003"/>
              <a:gd name="connsiteY2" fmla="*/ 116359 h 418038"/>
              <a:gd name="connsiteX3" fmla="*/ 15763003 w 15763003"/>
              <a:gd name="connsiteY3" fmla="*/ 418038 h 418038"/>
              <a:gd name="connsiteX4" fmla="*/ 0 w 15763003"/>
              <a:gd name="connsiteY4" fmla="*/ 418038 h 418038"/>
              <a:gd name="connsiteX5" fmla="*/ 0 w 15763003"/>
              <a:gd name="connsiteY5" fmla="*/ 116359 h 418038"/>
              <a:gd name="connsiteX6" fmla="*/ 116359 w 15763003"/>
              <a:gd name="connsiteY6" fmla="*/ 0 h 4180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763003" h="418038">
                <a:moveTo>
                  <a:pt x="116359" y="0"/>
                </a:moveTo>
                <a:lnTo>
                  <a:pt x="15646645" y="0"/>
                </a:lnTo>
                <a:cubicBezTo>
                  <a:pt x="15710907" y="0"/>
                  <a:pt x="15763003" y="52096"/>
                  <a:pt x="15763003" y="116359"/>
                </a:cubicBezTo>
                <a:lnTo>
                  <a:pt x="15763003" y="418038"/>
                </a:lnTo>
                <a:lnTo>
                  <a:pt x="0" y="418038"/>
                </a:lnTo>
                <a:lnTo>
                  <a:pt x="0" y="116359"/>
                </a:lnTo>
                <a:cubicBezTo>
                  <a:pt x="0" y="52096"/>
                  <a:pt x="52096" y="0"/>
                  <a:pt x="116359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6"/>
          </a:p>
        </p:txBody>
      </p:sp>
      <p:sp>
        <p:nvSpPr>
          <p:cNvPr id="22" name="Oval 21"/>
          <p:cNvSpPr/>
          <p:nvPr userDrawn="1"/>
        </p:nvSpPr>
        <p:spPr>
          <a:xfrm>
            <a:off x="1711524" y="1367661"/>
            <a:ext cx="54173" cy="54173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6"/>
          </a:p>
        </p:txBody>
      </p:sp>
      <p:sp>
        <p:nvSpPr>
          <p:cNvPr id="23" name="Oval 22"/>
          <p:cNvSpPr/>
          <p:nvPr userDrawn="1"/>
        </p:nvSpPr>
        <p:spPr>
          <a:xfrm>
            <a:off x="1806610" y="1367661"/>
            <a:ext cx="54173" cy="54173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6"/>
          </a:p>
        </p:txBody>
      </p:sp>
      <p:sp>
        <p:nvSpPr>
          <p:cNvPr id="24" name="Oval 23"/>
          <p:cNvSpPr/>
          <p:nvPr userDrawn="1"/>
        </p:nvSpPr>
        <p:spPr>
          <a:xfrm>
            <a:off x="1901697" y="1367661"/>
            <a:ext cx="54173" cy="54173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6"/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7154465" y="1366181"/>
            <a:ext cx="298052" cy="55653"/>
            <a:chOff x="19078575" y="3106739"/>
            <a:chExt cx="794804" cy="148407"/>
          </a:xfrm>
        </p:grpSpPr>
        <p:grpSp>
          <p:nvGrpSpPr>
            <p:cNvPr id="26" name="Group 25"/>
            <p:cNvGrpSpPr/>
            <p:nvPr/>
          </p:nvGrpSpPr>
          <p:grpSpPr>
            <a:xfrm>
              <a:off x="19736219" y="3106739"/>
              <a:ext cx="137160" cy="137160"/>
              <a:chOff x="19740165" y="3110684"/>
              <a:chExt cx="138113" cy="138113"/>
            </a:xfrm>
          </p:grpSpPr>
          <p:cxnSp>
            <p:nvCxnSpPr>
              <p:cNvPr id="29" name="Straight Connector 28"/>
              <p:cNvCxnSpPr/>
              <p:nvPr/>
            </p:nvCxnSpPr>
            <p:spPr>
              <a:xfrm>
                <a:off x="19740165" y="3110684"/>
                <a:ext cx="138113" cy="138113"/>
              </a:xfrm>
              <a:prstGeom prst="line">
                <a:avLst/>
              </a:prstGeom>
              <a:ln w="12700" cap="rnd">
                <a:solidFill>
                  <a:schemeClr val="bg1"/>
                </a:solidFill>
                <a:round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" name="Straight Connector 29"/>
              <p:cNvCxnSpPr/>
              <p:nvPr/>
            </p:nvCxnSpPr>
            <p:spPr>
              <a:xfrm flipV="1">
                <a:off x="19740165" y="3110684"/>
                <a:ext cx="138113" cy="138113"/>
              </a:xfrm>
              <a:prstGeom prst="line">
                <a:avLst/>
              </a:prstGeom>
              <a:ln w="12700" cap="rnd">
                <a:solidFill>
                  <a:schemeClr val="bg1"/>
                </a:solidFill>
                <a:round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7" name="Rounded Rectangle 26"/>
            <p:cNvSpPr/>
            <p:nvPr/>
          </p:nvSpPr>
          <p:spPr>
            <a:xfrm>
              <a:off x="19415125" y="3110684"/>
              <a:ext cx="144462" cy="144462"/>
            </a:xfrm>
            <a:prstGeom prst="roundRect">
              <a:avLst/>
            </a:prstGeom>
            <a:no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/>
            </a:p>
          </p:txBody>
        </p:sp>
        <p:cxnSp>
          <p:nvCxnSpPr>
            <p:cNvPr id="28" name="Straight Connector 27"/>
            <p:cNvCxnSpPr/>
            <p:nvPr/>
          </p:nvCxnSpPr>
          <p:spPr>
            <a:xfrm flipH="1">
              <a:off x="19078575" y="3255146"/>
              <a:ext cx="161925" cy="0"/>
            </a:xfrm>
            <a:prstGeom prst="line">
              <a:avLst/>
            </a:prstGeom>
            <a:ln w="12700" cap="rnd">
              <a:solidFill>
                <a:schemeClr val="bg1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6" name="Picture Placeholder 35"/>
          <p:cNvSpPr>
            <a:spLocks noGrp="1"/>
          </p:cNvSpPr>
          <p:nvPr>
            <p:ph type="pic" sz="quarter" idx="17"/>
          </p:nvPr>
        </p:nvSpPr>
        <p:spPr>
          <a:xfrm>
            <a:off x="5869461" y="2131214"/>
            <a:ext cx="1305324" cy="2409359"/>
          </a:xfrm>
          <a:custGeom>
            <a:avLst/>
            <a:gdLst>
              <a:gd name="connsiteX0" fmla="*/ 8541 w 1308021"/>
              <a:gd name="connsiteY0" fmla="*/ 0 h 2409359"/>
              <a:gd name="connsiteX1" fmla="*/ 1299480 w 1308021"/>
              <a:gd name="connsiteY1" fmla="*/ 0 h 2409359"/>
              <a:gd name="connsiteX2" fmla="*/ 1308021 w 1308021"/>
              <a:gd name="connsiteY2" fmla="*/ 8878 h 2409359"/>
              <a:gd name="connsiteX3" fmla="*/ 1308021 w 1308021"/>
              <a:gd name="connsiteY3" fmla="*/ 2400481 h 2409359"/>
              <a:gd name="connsiteX4" fmla="*/ 1299480 w 1308021"/>
              <a:gd name="connsiteY4" fmla="*/ 2409359 h 2409359"/>
              <a:gd name="connsiteX5" fmla="*/ 8541 w 1308021"/>
              <a:gd name="connsiteY5" fmla="*/ 2409359 h 2409359"/>
              <a:gd name="connsiteX6" fmla="*/ 0 w 1308021"/>
              <a:gd name="connsiteY6" fmla="*/ 2400481 h 2409359"/>
              <a:gd name="connsiteX7" fmla="*/ 0 w 1308021"/>
              <a:gd name="connsiteY7" fmla="*/ 8878 h 2409359"/>
              <a:gd name="connsiteX8" fmla="*/ 8541 w 1308021"/>
              <a:gd name="connsiteY8" fmla="*/ 0 h 2409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08021" h="2409359">
                <a:moveTo>
                  <a:pt x="8541" y="0"/>
                </a:moveTo>
                <a:lnTo>
                  <a:pt x="1299480" y="0"/>
                </a:lnTo>
                <a:cubicBezTo>
                  <a:pt x="1304198" y="0"/>
                  <a:pt x="1308021" y="3975"/>
                  <a:pt x="1308021" y="8878"/>
                </a:cubicBezTo>
                <a:lnTo>
                  <a:pt x="1308021" y="2400481"/>
                </a:lnTo>
                <a:cubicBezTo>
                  <a:pt x="1308021" y="2405384"/>
                  <a:pt x="1304198" y="2409359"/>
                  <a:pt x="1299480" y="2409359"/>
                </a:cubicBezTo>
                <a:lnTo>
                  <a:pt x="8541" y="2409359"/>
                </a:lnTo>
                <a:cubicBezTo>
                  <a:pt x="3824" y="2409359"/>
                  <a:pt x="0" y="2405384"/>
                  <a:pt x="0" y="2400481"/>
                </a:cubicBezTo>
                <a:lnTo>
                  <a:pt x="0" y="8878"/>
                </a:lnTo>
                <a:cubicBezTo>
                  <a:pt x="0" y="3975"/>
                  <a:pt x="3824" y="0"/>
                  <a:pt x="8541" y="0"/>
                </a:cubicBezTo>
                <a:close/>
              </a:path>
            </a:pathLst>
          </a:custGeom>
          <a:noFill/>
          <a:ln w="6350">
            <a:solidFill>
              <a:schemeClr val="accent1"/>
            </a:solidFill>
          </a:ln>
        </p:spPr>
        <p:txBody>
          <a:bodyPr wrap="square" lIns="0" tIns="0" rIns="0" bIns="0" anchor="ctr" anchorCtr="0">
            <a:noAutofit/>
          </a:bodyPr>
          <a:lstStyle>
            <a:lvl1pPr marL="0" indent="0" algn="ctr">
              <a:buFontTx/>
              <a:buNone/>
              <a:defRPr sz="800">
                <a:solidFill>
                  <a:schemeClr val="accent6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8" name="Imagem 17">
            <a:extLst>
              <a:ext uri="{FF2B5EF4-FFF2-40B4-BE49-F238E27FC236}">
                <a16:creationId xmlns:a16="http://schemas.microsoft.com/office/drawing/2014/main" id="{02FB0B3C-5976-4891-AA20-21AB526312C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7126" y="4373217"/>
            <a:ext cx="716873" cy="7702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36093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extLst>
    <p:ext uri="{DCECCB84-F9BA-43D5-87BE-67443E8EF086}">
      <p15:sldGuideLst xmlns:p15="http://schemas.microsoft.com/office/powerpoint/2012/main">
        <p15:guide id="1" orient="horz" pos="2934">
          <p15:clr>
            <a:srgbClr val="FBAE40"/>
          </p15:clr>
        </p15:guide>
        <p15:guide id="2" pos="5384">
          <p15:clr>
            <a:srgbClr val="FBAE40"/>
          </p15:clr>
        </p15:guide>
        <p15:guide id="3" pos="374">
          <p15:clr>
            <a:srgbClr val="FBAE40"/>
          </p15:clr>
        </p15:guide>
        <p15:guide id="4" orient="horz" pos="306">
          <p15:clr>
            <a:srgbClr val="FBAE40"/>
          </p15:clr>
        </p15:guide>
        <p15:guide id="5" orient="horz" pos="972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tebook mockup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/>
          <p:cNvSpPr/>
          <p:nvPr userDrawn="1"/>
        </p:nvSpPr>
        <p:spPr>
          <a:xfrm>
            <a:off x="595314" y="1934633"/>
            <a:ext cx="7953374" cy="1872580"/>
          </a:xfrm>
          <a:prstGeom prst="rect">
            <a:avLst/>
          </a:prstGeom>
          <a:solidFill>
            <a:srgbClr val="EC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61535" y="1432135"/>
            <a:ext cx="5027326" cy="3049841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584202" y="575841"/>
            <a:ext cx="7953374" cy="383260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200" b="0" cap="all" spc="50" baseline="0">
                <a:solidFill>
                  <a:schemeClr val="accent1"/>
                </a:solidFill>
                <a:latin typeface="Lato Black" panose="020F0A02020204030203" pitchFamily="34" charset="0"/>
                <a:ea typeface="Roboto" panose="02000000000000000000" pitchFamily="2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593725" y="959101"/>
            <a:ext cx="7953374" cy="141344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ts val="1200"/>
              </a:lnSpc>
              <a:spcBef>
                <a:spcPts val="0"/>
              </a:spcBef>
              <a:buNone/>
              <a:defRPr sz="900" b="0" cap="none" spc="0" baseline="0">
                <a:solidFill>
                  <a:schemeClr val="accent4"/>
                </a:solidFill>
                <a:latin typeface="Lato" panose="020F0502020204030203" pitchFamily="34" charset="0"/>
                <a:ea typeface="Roboto" panose="02000000000000000000" pitchFamily="2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593725" y="492067"/>
            <a:ext cx="914400" cy="0"/>
          </a:xfrm>
          <a:prstGeom prst="line">
            <a:avLst/>
          </a:prstGeom>
          <a:ln w="28575">
            <a:solidFill>
              <a:srgbClr val="EC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1957511" y="1714500"/>
            <a:ext cx="3635375" cy="2324100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FontTx/>
              <a:buNone/>
              <a:defRPr sz="800">
                <a:solidFill>
                  <a:schemeClr val="accent5"/>
                </a:solidFill>
                <a:latin typeface="Lato" panose="020F0502020204030203" pitchFamily="34" charset="0"/>
              </a:defRPr>
            </a:lvl1pPr>
          </a:lstStyle>
          <a:p>
            <a:endParaRPr lang="en-US"/>
          </a:p>
        </p:txBody>
      </p:sp>
      <p:pic>
        <p:nvPicPr>
          <p:cNvPr id="15" name="Imagem 14">
            <a:extLst>
              <a:ext uri="{FF2B5EF4-FFF2-40B4-BE49-F238E27FC236}">
                <a16:creationId xmlns:a16="http://schemas.microsoft.com/office/drawing/2014/main" id="{51E8431B-E590-40DF-8220-A7B5CB823DF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7127" y="4373217"/>
            <a:ext cx="716873" cy="7702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23376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extLst>
    <p:ext uri="{DCECCB84-F9BA-43D5-87BE-67443E8EF086}">
      <p15:sldGuideLst xmlns:p15="http://schemas.microsoft.com/office/powerpoint/2012/main">
        <p15:guide id="1" orient="horz" pos="2700">
          <p15:clr>
            <a:srgbClr val="FBAE40"/>
          </p15:clr>
        </p15:guide>
        <p15:guide id="2" pos="5384">
          <p15:clr>
            <a:srgbClr val="FBAE40"/>
          </p15:clr>
        </p15:guide>
        <p15:guide id="3" pos="374">
          <p15:clr>
            <a:srgbClr val="FBAE40"/>
          </p15:clr>
        </p15:guide>
        <p15:guide id="4" orient="horz" pos="306">
          <p15:clr>
            <a:srgbClr val="FBAE40"/>
          </p15:clr>
        </p15:guide>
        <p15:guide id="5" orient="horz" pos="972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415" y="1192"/>
          <a:ext cx="141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89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2" name="Objeto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15" y="1192"/>
                        <a:ext cx="141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Imagem 11"/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4966"/>
          <a:stretch/>
        </p:blipFill>
        <p:spPr>
          <a:xfrm>
            <a:off x="7972774" y="43704"/>
            <a:ext cx="1132503" cy="324000"/>
          </a:xfrm>
          <a:prstGeom prst="rect">
            <a:avLst/>
          </a:prstGeom>
        </p:spPr>
      </p:pic>
      <p:grpSp>
        <p:nvGrpSpPr>
          <p:cNvPr id="7" name="Group 6"/>
          <p:cNvGrpSpPr>
            <a:grpSpLocks/>
          </p:cNvGrpSpPr>
          <p:nvPr userDrawn="1"/>
        </p:nvGrpSpPr>
        <p:grpSpPr bwMode="auto">
          <a:xfrm rot="10800000">
            <a:off x="0" y="372715"/>
            <a:ext cx="9144000" cy="67865"/>
            <a:chOff x="-111760" y="6079065"/>
            <a:chExt cx="9144000" cy="91442"/>
          </a:xfrm>
        </p:grpSpPr>
        <p:pic>
          <p:nvPicPr>
            <p:cNvPr id="8" name="Picture 7" descr="PATTERN_04_LINHA.png"/>
            <p:cNvPicPr>
              <a:picLocks noChangeAspect="1"/>
            </p:cNvPicPr>
            <p:nvPr userDrawn="1"/>
          </p:nvPicPr>
          <p:blipFill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-2" r="1782" b="-127019"/>
            <a:stretch>
              <a:fillRect/>
            </a:stretch>
          </p:blipFill>
          <p:spPr bwMode="auto">
            <a:xfrm>
              <a:off x="2872754" y="6079065"/>
              <a:ext cx="6159486" cy="817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9" name="Picture 8" descr="PATTERN_04_LINHA.png"/>
            <p:cNvPicPr>
              <a:picLocks noChangeAspect="1"/>
            </p:cNvPicPr>
            <p:nvPr userDrawn="1"/>
          </p:nvPicPr>
          <p:blipFill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47662" t="6" r="5115" b="-154025"/>
            <a:stretch>
              <a:fillRect/>
            </a:stretch>
          </p:blipFill>
          <p:spPr bwMode="auto">
            <a:xfrm>
              <a:off x="-111760" y="6079065"/>
              <a:ext cx="2961588" cy="914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2651373897"/>
      </p:ext>
    </p:extLst>
  </p:cSld>
  <p:clrMapOvr>
    <a:masterClrMapping/>
  </p:clrMapOvr>
  <p:transition spd="slow"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F600A687-350E-4884-A9BA-D1FC03B34A5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75407DAD-D2DA-4E61-8537-1E1DECB1DCA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94450143-D315-4BA2-B0C5-4CC487B7BF2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66C83D-D978-4236-B0F9-C1F2D7CE8773}" type="datetimeFigureOut">
              <a:rPr lang="pt-BR" smtClean="0"/>
              <a:t>14/05/2020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F1B85DB9-19DA-418E-A40F-61923D90A4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4A3BF928-DAA7-4EB3-82EF-FF7397C5AD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D65A93-7739-4D9A-815F-A96E8827C0A3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35421408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ítulo e 2 colun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57202" y="938076"/>
            <a:ext cx="4038600" cy="331843"/>
          </a:xfrm>
        </p:spPr>
        <p:txBody>
          <a:bodyPr anchor="b">
            <a:normAutofit/>
          </a:bodyPr>
          <a:lstStyle>
            <a:lvl1pPr marL="0" indent="0">
              <a:buNone/>
              <a:defRPr sz="1337" b="1">
                <a:solidFill>
                  <a:schemeClr val="tx2"/>
                </a:solidFill>
              </a:defRPr>
            </a:lvl1pPr>
            <a:lvl2pPr marL="305528" indent="0">
              <a:buNone/>
              <a:defRPr sz="1337" b="1"/>
            </a:lvl2pPr>
            <a:lvl3pPr marL="611056" indent="0">
              <a:buNone/>
              <a:defRPr sz="1203" b="1"/>
            </a:lvl3pPr>
            <a:lvl4pPr marL="916583" indent="0">
              <a:buNone/>
              <a:defRPr sz="1070" b="1"/>
            </a:lvl4pPr>
            <a:lvl5pPr marL="1222111" indent="0">
              <a:buNone/>
              <a:defRPr sz="1070" b="1"/>
            </a:lvl5pPr>
            <a:lvl6pPr marL="1527638" indent="0">
              <a:buNone/>
              <a:defRPr sz="1070" b="1"/>
            </a:lvl6pPr>
            <a:lvl7pPr marL="1833167" indent="0">
              <a:buNone/>
              <a:defRPr sz="1070" b="1"/>
            </a:lvl7pPr>
            <a:lvl8pPr marL="2138693" indent="0">
              <a:buNone/>
              <a:defRPr sz="1070" b="1"/>
            </a:lvl8pPr>
            <a:lvl9pPr marL="2444221" indent="0">
              <a:buNone/>
              <a:defRPr sz="1070" b="1"/>
            </a:lvl9pPr>
          </a:lstStyle>
          <a:p>
            <a:pPr lvl="0"/>
            <a:r>
              <a:rPr lang="x-none" dirty="0"/>
              <a:t>Subtítulo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4648200" y="938076"/>
            <a:ext cx="4038600" cy="331843"/>
          </a:xfrm>
        </p:spPr>
        <p:txBody>
          <a:bodyPr anchor="b">
            <a:normAutofit/>
          </a:bodyPr>
          <a:lstStyle>
            <a:lvl1pPr marL="0" indent="0">
              <a:buNone/>
              <a:defRPr sz="1337" b="1">
                <a:solidFill>
                  <a:schemeClr val="tx2"/>
                </a:solidFill>
              </a:defRPr>
            </a:lvl1pPr>
            <a:lvl2pPr marL="305528" indent="0">
              <a:buNone/>
              <a:defRPr sz="1337" b="1"/>
            </a:lvl2pPr>
            <a:lvl3pPr marL="611056" indent="0">
              <a:buNone/>
              <a:defRPr sz="1203" b="1"/>
            </a:lvl3pPr>
            <a:lvl4pPr marL="916583" indent="0">
              <a:buNone/>
              <a:defRPr sz="1070" b="1"/>
            </a:lvl4pPr>
            <a:lvl5pPr marL="1222111" indent="0">
              <a:buNone/>
              <a:defRPr sz="1070" b="1"/>
            </a:lvl5pPr>
            <a:lvl6pPr marL="1527638" indent="0">
              <a:buNone/>
              <a:defRPr sz="1070" b="1"/>
            </a:lvl6pPr>
            <a:lvl7pPr marL="1833167" indent="0">
              <a:buNone/>
              <a:defRPr sz="1070" b="1"/>
            </a:lvl7pPr>
            <a:lvl8pPr marL="2138693" indent="0">
              <a:buNone/>
              <a:defRPr sz="1070" b="1"/>
            </a:lvl8pPr>
            <a:lvl9pPr marL="2444221" indent="0">
              <a:buNone/>
              <a:defRPr sz="1070" b="1"/>
            </a:lvl9pPr>
          </a:lstStyle>
          <a:p>
            <a:pPr lvl="0"/>
            <a:r>
              <a:rPr lang="x-none" dirty="0"/>
              <a:t>Subtítulo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457202" y="205978"/>
            <a:ext cx="6564395" cy="601523"/>
          </a:xfrm>
        </p:spPr>
        <p:txBody>
          <a:bodyPr>
            <a:normAutofit/>
          </a:bodyPr>
          <a:lstStyle>
            <a:lvl1pPr>
              <a:defRPr sz="1604" b="1">
                <a:solidFill>
                  <a:srgbClr val="FC0006"/>
                </a:solidFill>
              </a:defRPr>
            </a:lvl1pPr>
          </a:lstStyle>
          <a:p>
            <a:r>
              <a:rPr lang="x-none" dirty="0"/>
              <a:t>Título</a:t>
            </a:r>
            <a:endParaRPr lang="en-US" dirty="0"/>
          </a:p>
        </p:txBody>
      </p:sp>
      <p:sp>
        <p:nvSpPr>
          <p:cNvPr id="12" name="Content Placeholder 2"/>
          <p:cNvSpPr>
            <a:spLocks noGrp="1"/>
          </p:cNvSpPr>
          <p:nvPr>
            <p:ph sz="half" idx="10" hasCustomPrompt="1"/>
          </p:nvPr>
        </p:nvSpPr>
        <p:spPr>
          <a:xfrm>
            <a:off x="457202" y="1269919"/>
            <a:ext cx="4038600" cy="3102926"/>
          </a:xfrm>
        </p:spPr>
        <p:txBody>
          <a:bodyPr>
            <a:normAutofit/>
          </a:bodyPr>
          <a:lstStyle>
            <a:lvl1pPr>
              <a:defRPr sz="1203"/>
            </a:lvl1pPr>
            <a:lvl2pPr>
              <a:defRPr sz="1604"/>
            </a:lvl2pPr>
            <a:lvl3pPr>
              <a:defRPr sz="1337"/>
            </a:lvl3pPr>
            <a:lvl4pPr>
              <a:defRPr sz="1203"/>
            </a:lvl4pPr>
            <a:lvl5pPr>
              <a:defRPr sz="1203"/>
            </a:lvl5pPr>
            <a:lvl6pPr>
              <a:defRPr sz="1203"/>
            </a:lvl6pPr>
            <a:lvl7pPr>
              <a:defRPr sz="1203"/>
            </a:lvl7pPr>
            <a:lvl8pPr>
              <a:defRPr sz="1203"/>
            </a:lvl8pPr>
            <a:lvl9pPr>
              <a:defRPr sz="1203"/>
            </a:lvl9pPr>
          </a:lstStyle>
          <a:p>
            <a:pPr lvl="0"/>
            <a:r>
              <a:rPr lang="x-none" dirty="0"/>
              <a:t>Texto, gráfico ou tabela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648200" y="1269919"/>
            <a:ext cx="4038600" cy="3102926"/>
          </a:xfrm>
        </p:spPr>
        <p:txBody>
          <a:bodyPr>
            <a:normAutofit/>
          </a:bodyPr>
          <a:lstStyle>
            <a:lvl1pPr>
              <a:defRPr sz="1203"/>
            </a:lvl1pPr>
            <a:lvl2pPr>
              <a:defRPr sz="1604"/>
            </a:lvl2pPr>
            <a:lvl3pPr>
              <a:defRPr sz="1337"/>
            </a:lvl3pPr>
            <a:lvl4pPr>
              <a:defRPr sz="1203"/>
            </a:lvl4pPr>
            <a:lvl5pPr>
              <a:defRPr sz="1203"/>
            </a:lvl5pPr>
            <a:lvl6pPr>
              <a:defRPr sz="1203"/>
            </a:lvl6pPr>
            <a:lvl7pPr>
              <a:defRPr sz="1203"/>
            </a:lvl7pPr>
            <a:lvl8pPr>
              <a:defRPr sz="1203"/>
            </a:lvl8pPr>
            <a:lvl9pPr>
              <a:defRPr sz="1203"/>
            </a:lvl9pPr>
          </a:lstStyle>
          <a:p>
            <a:pPr lvl="0"/>
            <a:r>
              <a:rPr lang="x-none" dirty="0"/>
              <a:t>Texto, gráfico ou tabela</a:t>
            </a:r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4431" y="194768"/>
            <a:ext cx="339435" cy="273844"/>
          </a:xfrm>
          <a:prstGeom prst="rect">
            <a:avLst/>
          </a:prstGeom>
        </p:spPr>
        <p:txBody>
          <a:bodyPr/>
          <a:lstStyle>
            <a:lvl1pPr algn="l">
              <a:defRPr sz="668">
                <a:solidFill>
                  <a:schemeClr val="tx1"/>
                </a:solidFill>
              </a:defRPr>
            </a:lvl1pPr>
          </a:lstStyle>
          <a:p>
            <a:fld id="{08FDDC7F-4685-9F40-974F-5BFFD8258265}" type="slidenum">
              <a:rPr lang="en-US" smtClean="0">
                <a:solidFill>
                  <a:srgbClr val="1E1E1E"/>
                </a:solidFill>
              </a:rPr>
              <a:pPr/>
              <a:t>‹nº›</a:t>
            </a:fld>
            <a:endParaRPr lang="en-US" dirty="0">
              <a:solidFill>
                <a:srgbClr val="1E1E1E"/>
              </a:solidFill>
            </a:endParaRPr>
          </a:p>
        </p:txBody>
      </p:sp>
      <p:grpSp>
        <p:nvGrpSpPr>
          <p:cNvPr id="16" name="Group 6"/>
          <p:cNvGrpSpPr>
            <a:grpSpLocks/>
          </p:cNvGrpSpPr>
          <p:nvPr userDrawn="1"/>
        </p:nvGrpSpPr>
        <p:grpSpPr bwMode="auto">
          <a:xfrm rot="10800000">
            <a:off x="1" y="4525570"/>
            <a:ext cx="9144000" cy="67865"/>
            <a:chOff x="-111760" y="6079065"/>
            <a:chExt cx="9144000" cy="91442"/>
          </a:xfrm>
        </p:grpSpPr>
        <p:pic>
          <p:nvPicPr>
            <p:cNvPr id="17" name="Picture 7" descr="PATTERN_04_LINHA.png"/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-2" r="1782" b="-127019"/>
            <a:stretch>
              <a:fillRect/>
            </a:stretch>
          </p:blipFill>
          <p:spPr bwMode="auto">
            <a:xfrm>
              <a:off x="2872754" y="6079065"/>
              <a:ext cx="6159486" cy="817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8" name="Picture 8" descr="PATTERN_04_LINHA.png"/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47662" t="6" r="5115" b="-154025"/>
            <a:stretch>
              <a:fillRect/>
            </a:stretch>
          </p:blipFill>
          <p:spPr bwMode="auto">
            <a:xfrm>
              <a:off x="-111760" y="6079065"/>
              <a:ext cx="2961588" cy="914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9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92732" y="4767267"/>
            <a:ext cx="2895600" cy="273844"/>
          </a:xfrm>
          <a:prstGeom prst="rect">
            <a:avLst/>
          </a:prstGeom>
        </p:spPr>
        <p:txBody>
          <a:bodyPr/>
          <a:lstStyle>
            <a:lvl1pPr algn="l">
              <a:defRPr sz="668">
                <a:solidFill>
                  <a:schemeClr val="tx1"/>
                </a:solidFill>
              </a:defRPr>
            </a:lvl1pPr>
          </a:lstStyle>
          <a:p>
            <a:pPr defTabSz="611056"/>
            <a:endParaRPr lang="en-US" dirty="0">
              <a:solidFill>
                <a:srgbClr val="1E1E1E"/>
              </a:solidFill>
            </a:endParaRPr>
          </a:p>
        </p:txBody>
      </p:sp>
      <p:pic>
        <p:nvPicPr>
          <p:cNvPr id="20" name="Imagem 19"/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4966"/>
          <a:stretch/>
        </p:blipFill>
        <p:spPr>
          <a:xfrm>
            <a:off x="7766229" y="4646937"/>
            <a:ext cx="1377773" cy="3941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3471258"/>
      </p:ext>
    </p:extLst>
  </p:cSld>
  <p:clrMapOvr>
    <a:masterClrMapping/>
  </p:clrMapOvr>
  <p:transition spd="slow"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apa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579403" y="2907838"/>
            <a:ext cx="3564598" cy="11055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457202" y="2907841"/>
            <a:ext cx="4791223" cy="800708"/>
          </a:xfrm>
        </p:spPr>
        <p:txBody>
          <a:bodyPr>
            <a:normAutofit/>
          </a:bodyPr>
          <a:lstStyle>
            <a:lvl1pPr>
              <a:defRPr sz="2139" b="1" i="1">
                <a:solidFill>
                  <a:schemeClr val="bg1"/>
                </a:solidFill>
              </a:defRPr>
            </a:lvl1pPr>
          </a:lstStyle>
          <a:p>
            <a:r>
              <a:rPr lang="x-none" dirty="0"/>
              <a:t>Título da apresentação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2" y="3780065"/>
            <a:ext cx="4791223" cy="233363"/>
          </a:xfrm>
        </p:spPr>
        <p:txBody>
          <a:bodyPr anchor="ctr">
            <a:noAutofit/>
          </a:bodyPr>
          <a:lstStyle>
            <a:lvl1pPr marL="0" indent="0">
              <a:buNone/>
              <a:defRPr sz="1337"/>
            </a:lvl1pPr>
            <a:lvl2pPr>
              <a:defRPr sz="1203"/>
            </a:lvl2pPr>
            <a:lvl3pPr>
              <a:defRPr sz="1203"/>
            </a:lvl3pPr>
            <a:lvl4pPr>
              <a:defRPr sz="1203"/>
            </a:lvl4pPr>
            <a:lvl5pPr>
              <a:defRPr sz="1203"/>
            </a:lvl5pPr>
          </a:lstStyle>
          <a:p>
            <a:pPr lvl="0"/>
            <a:r>
              <a:rPr lang="x-none" dirty="0"/>
              <a:t>Local | Data</a:t>
            </a:r>
          </a:p>
        </p:txBody>
      </p:sp>
      <p:pic>
        <p:nvPicPr>
          <p:cNvPr id="7" name="Picture 6" descr="AF_Getnet_endosso_pos_branco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30758" y="598182"/>
            <a:ext cx="2196000" cy="6248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8931572"/>
      </p:ext>
    </p:extLst>
  </p:cSld>
  <p:clrMapOvr>
    <a:masterClrMapping/>
  </p:clrMapOvr>
  <p:transition spd="slow"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apa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457202" y="2907841"/>
            <a:ext cx="4791223" cy="800708"/>
          </a:xfrm>
        </p:spPr>
        <p:txBody>
          <a:bodyPr>
            <a:normAutofit/>
          </a:bodyPr>
          <a:lstStyle>
            <a:lvl1pPr>
              <a:defRPr sz="2139" b="1" i="1">
                <a:solidFill>
                  <a:schemeClr val="accent1"/>
                </a:solidFill>
              </a:defRPr>
            </a:lvl1pPr>
          </a:lstStyle>
          <a:p>
            <a:r>
              <a:rPr lang="x-none" dirty="0"/>
              <a:t>Título da apresentação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2" y="3780065"/>
            <a:ext cx="4791223" cy="233363"/>
          </a:xfrm>
        </p:spPr>
        <p:txBody>
          <a:bodyPr anchor="ctr">
            <a:noAutofit/>
          </a:bodyPr>
          <a:lstStyle>
            <a:lvl1pPr marL="0" indent="0">
              <a:buNone/>
              <a:defRPr sz="1337"/>
            </a:lvl1pPr>
            <a:lvl2pPr>
              <a:defRPr sz="1203"/>
            </a:lvl2pPr>
            <a:lvl3pPr>
              <a:defRPr sz="1203"/>
            </a:lvl3pPr>
            <a:lvl4pPr>
              <a:defRPr sz="1203"/>
            </a:lvl4pPr>
            <a:lvl5pPr>
              <a:defRPr sz="1203"/>
            </a:lvl5pPr>
          </a:lstStyle>
          <a:p>
            <a:pPr lvl="0"/>
            <a:r>
              <a:rPr lang="x-none" dirty="0"/>
              <a:t>Local | Data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47528"/>
          <a:stretch/>
        </p:blipFill>
        <p:spPr>
          <a:xfrm>
            <a:off x="5579403" y="2907838"/>
            <a:ext cx="3564598" cy="1105590"/>
          </a:xfrm>
          <a:prstGeom prst="rect">
            <a:avLst/>
          </a:prstGeom>
        </p:spPr>
      </p:pic>
      <p:pic>
        <p:nvPicPr>
          <p:cNvPr id="2" name="Imagem 1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19477" y="519524"/>
            <a:ext cx="2850958" cy="12541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60550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em branc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m 6">
            <a:extLst>
              <a:ext uri="{FF2B5EF4-FFF2-40B4-BE49-F238E27FC236}">
                <a16:creationId xmlns:a16="http://schemas.microsoft.com/office/drawing/2014/main" id="{84BF2A4C-08D2-4BE4-BE4A-A78FED23A01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7127" y="4373217"/>
            <a:ext cx="716873" cy="7702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6680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extLst>
    <p:ext uri="{DCECCB84-F9BA-43D5-87BE-67443E8EF086}">
      <p15:sldGuideLst xmlns:p15="http://schemas.microsoft.com/office/powerpoint/2012/main">
        <p15:guide id="1" orient="horz" pos="2700">
          <p15:clr>
            <a:srgbClr val="FBAE40"/>
          </p15:clr>
        </p15:guide>
        <p15:guide id="2" pos="5384">
          <p15:clr>
            <a:srgbClr val="FBAE40"/>
          </p15:clr>
        </p15:guide>
        <p15:guide id="3" pos="374">
          <p15:clr>
            <a:srgbClr val="FBAE40"/>
          </p15:clr>
        </p15:guide>
        <p15:guide id="4" orient="horz" pos="306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ub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 i="1">
                <a:solidFill>
                  <a:schemeClr val="tx2"/>
                </a:solidFill>
              </a:defRPr>
            </a:lvl1pPr>
          </a:lstStyle>
          <a:p>
            <a:r>
              <a:rPr lang="x-none" dirty="0"/>
              <a:t>Título da subcapa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8FDDC7F-4685-9F40-974F-5BFFD8258265}" type="slidenum">
              <a:rPr lang="en-US" smtClean="0">
                <a:solidFill>
                  <a:srgbClr val="1E1E1E"/>
                </a:solidFill>
              </a:rPr>
              <a:pPr/>
              <a:t>‹nº›</a:t>
            </a:fld>
            <a:endParaRPr lang="en-US" dirty="0">
              <a:solidFill>
                <a:srgbClr val="1E1E1E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692731" y="4767265"/>
            <a:ext cx="2895600" cy="273844"/>
          </a:xfrm>
          <a:prstGeom prst="rect">
            <a:avLst/>
          </a:prstGeom>
        </p:spPr>
        <p:txBody>
          <a:bodyPr/>
          <a:lstStyle/>
          <a:p>
            <a:pPr defTabSz="611117"/>
            <a:endParaRPr lang="en-US" dirty="0">
              <a:solidFill>
                <a:srgbClr val="1E1E1E"/>
              </a:solidFill>
            </a:endParaRPr>
          </a:p>
        </p:txBody>
      </p:sp>
      <p:pic>
        <p:nvPicPr>
          <p:cNvPr id="7" name="Picture 3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6528" r="6528"/>
          <a:stretch>
            <a:fillRect/>
          </a:stretch>
        </p:blipFill>
        <p:spPr bwMode="auto">
          <a:xfrm>
            <a:off x="0" y="1357313"/>
            <a:ext cx="9144000" cy="2428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945818879"/>
      </p:ext>
    </p:extLst>
  </p:cSld>
  <p:clrMapOvr>
    <a:masterClrMapping/>
  </p:clrMapOvr>
  <p:transition spd="slow"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ubcapa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457201" y="4767265"/>
            <a:ext cx="339435" cy="27384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8FDDC7F-4685-9F40-974F-5BFFD8258265}" type="slidenum">
              <a:rPr lang="en-US" smtClean="0">
                <a:solidFill>
                  <a:prstClr val="white"/>
                </a:solidFill>
              </a:rPr>
              <a:pPr/>
              <a:t>‹nº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692731" y="4767265"/>
            <a:ext cx="2895600" cy="27384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defTabSz="611117"/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14" name="Picture 3" descr="PATTERN_01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6516" r="6514"/>
          <a:stretch>
            <a:fillRect/>
          </a:stretch>
        </p:blipFill>
        <p:spPr bwMode="auto">
          <a:xfrm>
            <a:off x="0" y="1495425"/>
            <a:ext cx="9144000" cy="24300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05979"/>
            <a:ext cx="8229600" cy="857250"/>
          </a:xfrm>
        </p:spPr>
        <p:txBody>
          <a:bodyPr/>
          <a:lstStyle>
            <a:lvl1pPr>
              <a:defRPr b="1" i="1">
                <a:solidFill>
                  <a:srgbClr val="FFFFFF"/>
                </a:solidFill>
              </a:defRPr>
            </a:lvl1pPr>
          </a:lstStyle>
          <a:p>
            <a:r>
              <a:rPr lang="x-none" dirty="0"/>
              <a:t>Título da subcapa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96417257"/>
      </p:ext>
    </p:extLst>
  </p:cSld>
  <p:clrMapOvr>
    <a:masterClrMapping/>
  </p:clrMapOvr>
  <p:transition spd="slow"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ub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PATTERN_02_POS_longo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089" r="6487"/>
          <a:stretch>
            <a:fillRect/>
          </a:stretch>
        </p:blipFill>
        <p:spPr bwMode="auto">
          <a:xfrm>
            <a:off x="0" y="0"/>
            <a:ext cx="9144000" cy="8524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Rectangle 10"/>
          <p:cNvSpPr/>
          <p:nvPr userDrawn="1"/>
        </p:nvSpPr>
        <p:spPr>
          <a:xfrm>
            <a:off x="1" y="247651"/>
            <a:ext cx="6784975" cy="85486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anchor="ctr"/>
          <a:lstStyle/>
          <a:p>
            <a:pPr algn="ctr" defTabSz="611117">
              <a:defRPr/>
            </a:pPr>
            <a:endParaRPr lang="en-US" sz="1203">
              <a:solidFill>
                <a:srgbClr val="1E1E1E"/>
              </a:solidFill>
            </a:endParaRPr>
          </a:p>
        </p:txBody>
      </p:sp>
      <p:sp>
        <p:nvSpPr>
          <p:cNvPr id="12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496535" y="247348"/>
            <a:ext cx="6158265" cy="855740"/>
          </a:xfrm>
        </p:spPr>
        <p:txBody>
          <a:bodyPr anchor="ctr">
            <a:noAutofit/>
          </a:bodyPr>
          <a:lstStyle>
            <a:lvl1pPr marL="0" indent="0">
              <a:buNone/>
              <a:defRPr sz="2673" b="1" i="1" baseline="0">
                <a:solidFill>
                  <a:schemeClr val="bg1"/>
                </a:solidFill>
                <a:latin typeface="+mn-lt"/>
              </a:defRPr>
            </a:lvl1pPr>
            <a:lvl2pPr marL="305558" indent="0">
              <a:buNone/>
              <a:defRPr sz="1203">
                <a:solidFill>
                  <a:schemeClr val="tx1">
                    <a:tint val="75000"/>
                  </a:schemeClr>
                </a:solidFill>
              </a:defRPr>
            </a:lvl2pPr>
            <a:lvl3pPr marL="611117" indent="0">
              <a:buNone/>
              <a:defRPr sz="1070">
                <a:solidFill>
                  <a:schemeClr val="tx1">
                    <a:tint val="75000"/>
                  </a:schemeClr>
                </a:solidFill>
              </a:defRPr>
            </a:lvl3pPr>
            <a:lvl4pPr marL="916675" indent="0">
              <a:buNone/>
              <a:defRPr sz="936">
                <a:solidFill>
                  <a:schemeClr val="tx1">
                    <a:tint val="75000"/>
                  </a:schemeClr>
                </a:solidFill>
              </a:defRPr>
            </a:lvl4pPr>
            <a:lvl5pPr marL="1222233" indent="0">
              <a:buNone/>
              <a:defRPr sz="936">
                <a:solidFill>
                  <a:schemeClr val="tx1">
                    <a:tint val="75000"/>
                  </a:schemeClr>
                </a:solidFill>
              </a:defRPr>
            </a:lvl5pPr>
            <a:lvl6pPr marL="1527791" indent="0">
              <a:buNone/>
              <a:defRPr sz="936">
                <a:solidFill>
                  <a:schemeClr val="tx1">
                    <a:tint val="75000"/>
                  </a:schemeClr>
                </a:solidFill>
              </a:defRPr>
            </a:lvl6pPr>
            <a:lvl7pPr marL="1833350" indent="0">
              <a:buNone/>
              <a:defRPr sz="936">
                <a:solidFill>
                  <a:schemeClr val="tx1">
                    <a:tint val="75000"/>
                  </a:schemeClr>
                </a:solidFill>
              </a:defRPr>
            </a:lvl7pPr>
            <a:lvl8pPr marL="2138907" indent="0">
              <a:buNone/>
              <a:defRPr sz="936">
                <a:solidFill>
                  <a:schemeClr val="tx1">
                    <a:tint val="75000"/>
                  </a:schemeClr>
                </a:solidFill>
              </a:defRPr>
            </a:lvl8pPr>
            <a:lvl9pPr marL="2444465" indent="0">
              <a:buNone/>
              <a:defRPr sz="936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x-none" dirty="0"/>
              <a:t>Título da subcapa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96536" y="1394116"/>
            <a:ext cx="6158266" cy="2978728"/>
          </a:xfrm>
        </p:spPr>
        <p:txBody>
          <a:bodyPr>
            <a:normAutofit/>
          </a:bodyPr>
          <a:lstStyle>
            <a:lvl1pPr>
              <a:defRPr sz="1203" baseline="0"/>
            </a:lvl1pPr>
          </a:lstStyle>
          <a:p>
            <a:pPr lvl="0"/>
            <a:r>
              <a:rPr lang="x-none" dirty="0"/>
              <a:t>Tópicos do capítulo</a:t>
            </a:r>
          </a:p>
          <a:p>
            <a:pPr lvl="0"/>
            <a:endParaRPr lang="x-none" dirty="0"/>
          </a:p>
        </p:txBody>
      </p:sp>
      <p:sp>
        <p:nvSpPr>
          <p:cNvPr id="8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8293603" y="289323"/>
            <a:ext cx="339435" cy="273844"/>
          </a:xfrm>
        </p:spPr>
        <p:txBody>
          <a:bodyPr/>
          <a:lstStyle/>
          <a:p>
            <a:fld id="{08FDDC7F-4685-9F40-974F-5BFFD8258265}" type="slidenum">
              <a:rPr lang="en-US" smtClean="0">
                <a:solidFill>
                  <a:srgbClr val="1E1E1E"/>
                </a:solidFill>
              </a:rPr>
              <a:pPr/>
              <a:t>‹nº›</a:t>
            </a:fld>
            <a:endParaRPr lang="en-US" dirty="0">
              <a:solidFill>
                <a:srgbClr val="1E1E1E"/>
              </a:solidFill>
            </a:endParaRPr>
          </a:p>
        </p:txBody>
      </p:sp>
      <p:sp>
        <p:nvSpPr>
          <p:cNvPr id="9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692731" y="4767265"/>
            <a:ext cx="2895600" cy="273844"/>
          </a:xfrm>
          <a:prstGeom prst="rect">
            <a:avLst/>
          </a:prstGeom>
        </p:spPr>
        <p:txBody>
          <a:bodyPr/>
          <a:lstStyle/>
          <a:p>
            <a:pPr defTabSz="611117"/>
            <a:endParaRPr lang="en-US" dirty="0">
              <a:solidFill>
                <a:srgbClr val="1E1E1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54136162"/>
      </p:ext>
    </p:extLst>
  </p:cSld>
  <p:clrMapOvr>
    <a:masterClrMapping/>
  </p:clrMapOvr>
  <p:transition spd="slow"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estaq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4"/>
          <p:cNvGrpSpPr>
            <a:grpSpLocks/>
          </p:cNvGrpSpPr>
          <p:nvPr userDrawn="1"/>
        </p:nvGrpSpPr>
        <p:grpSpPr bwMode="auto">
          <a:xfrm rot="10800000">
            <a:off x="0" y="5074447"/>
            <a:ext cx="9144000" cy="69056"/>
            <a:chOff x="-111760" y="6079065"/>
            <a:chExt cx="9144000" cy="91442"/>
          </a:xfrm>
        </p:grpSpPr>
        <p:pic>
          <p:nvPicPr>
            <p:cNvPr id="8" name="Picture 5" descr="PATTERN_04_LINHA.png"/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-2" r="1782" b="-127019"/>
            <a:stretch>
              <a:fillRect/>
            </a:stretch>
          </p:blipFill>
          <p:spPr bwMode="auto">
            <a:xfrm>
              <a:off x="2872754" y="6079065"/>
              <a:ext cx="6159486" cy="817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9" name="Picture 6" descr="PATTERN_04_LINHA.png"/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47662" t="6" r="5115" b="-154025"/>
            <a:stretch>
              <a:fillRect/>
            </a:stretch>
          </p:blipFill>
          <p:spPr bwMode="auto">
            <a:xfrm>
              <a:off x="-111760" y="6079065"/>
              <a:ext cx="2961588" cy="914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2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57201" y="4767265"/>
            <a:ext cx="339435" cy="273844"/>
          </a:xfrm>
          <a:prstGeom prst="rect">
            <a:avLst/>
          </a:prstGeom>
        </p:spPr>
        <p:txBody>
          <a:bodyPr/>
          <a:lstStyle>
            <a:lvl1pPr algn="l">
              <a:defRPr sz="668">
                <a:solidFill>
                  <a:schemeClr val="bg2"/>
                </a:solidFill>
              </a:defRPr>
            </a:lvl1pPr>
          </a:lstStyle>
          <a:p>
            <a:fld id="{08FDDC7F-4685-9F40-974F-5BFFD8258265}" type="slidenum">
              <a:rPr lang="en-US" smtClean="0">
                <a:solidFill>
                  <a:srgbClr val="E0DBC8"/>
                </a:solidFill>
              </a:rPr>
              <a:pPr/>
              <a:t>‹nº›</a:t>
            </a:fld>
            <a:endParaRPr lang="en-US" dirty="0">
              <a:solidFill>
                <a:srgbClr val="E0DBC8"/>
              </a:solidFill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92731" y="4767265"/>
            <a:ext cx="2895600" cy="273844"/>
          </a:xfrm>
          <a:prstGeom prst="rect">
            <a:avLst/>
          </a:prstGeom>
        </p:spPr>
        <p:txBody>
          <a:bodyPr/>
          <a:lstStyle>
            <a:lvl1pPr algn="l">
              <a:defRPr sz="668">
                <a:solidFill>
                  <a:schemeClr val="bg2"/>
                </a:solidFill>
              </a:defRPr>
            </a:lvl1pPr>
          </a:lstStyle>
          <a:p>
            <a:pPr defTabSz="611117"/>
            <a:endParaRPr lang="en-US" dirty="0">
              <a:solidFill>
                <a:srgbClr val="E0DBC8"/>
              </a:solidFill>
            </a:endParaRPr>
          </a:p>
        </p:txBody>
      </p:sp>
      <p:sp>
        <p:nvSpPr>
          <p:cNvPr id="1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27365" y="553357"/>
            <a:ext cx="7689272" cy="3675743"/>
          </a:xfrm>
        </p:spPr>
        <p:txBody>
          <a:bodyPr anchor="ctr"/>
          <a:lstStyle>
            <a:lvl1pPr marL="0" indent="0" algn="ctr">
              <a:buNone/>
              <a:defRPr b="0" i="1" baseline="0">
                <a:solidFill>
                  <a:schemeClr val="bg1"/>
                </a:solidFill>
              </a:defRPr>
            </a:lvl1pPr>
            <a:lvl2pPr marL="3055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111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9166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2222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5277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18333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1389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4444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x-none" dirty="0"/>
              <a:t>“Citação ou destaque”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48541915"/>
      </p:ext>
    </p:extLst>
  </p:cSld>
  <p:clrMapOvr>
    <a:masterClrMapping/>
  </p:clrMapOvr>
  <p:transition spd="slow"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estaq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27365" y="553357"/>
            <a:ext cx="7689272" cy="3675743"/>
          </a:xfrm>
        </p:spPr>
        <p:txBody>
          <a:bodyPr anchor="ctr"/>
          <a:lstStyle>
            <a:lvl1pPr marL="0" indent="0" algn="ctr">
              <a:buNone/>
              <a:defRPr b="0" i="1" baseline="0">
                <a:solidFill>
                  <a:schemeClr val="bg1"/>
                </a:solidFill>
              </a:defRPr>
            </a:lvl1pPr>
            <a:lvl2pPr marL="3055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111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9166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2222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5277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18333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1389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4444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x-none" dirty="0"/>
              <a:t>“Citação ou destaque”</a:t>
            </a:r>
            <a:endParaRPr lang="en-US" dirty="0"/>
          </a:p>
        </p:txBody>
      </p:sp>
      <p:grpSp>
        <p:nvGrpSpPr>
          <p:cNvPr id="7" name="Group 4"/>
          <p:cNvGrpSpPr>
            <a:grpSpLocks/>
          </p:cNvGrpSpPr>
          <p:nvPr userDrawn="1"/>
        </p:nvGrpSpPr>
        <p:grpSpPr bwMode="auto">
          <a:xfrm rot="10800000">
            <a:off x="0" y="5074447"/>
            <a:ext cx="9144000" cy="69056"/>
            <a:chOff x="-111760" y="6079065"/>
            <a:chExt cx="9144000" cy="91442"/>
          </a:xfrm>
        </p:grpSpPr>
        <p:pic>
          <p:nvPicPr>
            <p:cNvPr id="8" name="Picture 5" descr="PATTERN_04_LINHA.png"/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-2" r="1782" b="-127019"/>
            <a:stretch>
              <a:fillRect/>
            </a:stretch>
          </p:blipFill>
          <p:spPr bwMode="auto">
            <a:xfrm>
              <a:off x="2872754" y="6079065"/>
              <a:ext cx="6159486" cy="817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9" name="Picture 6" descr="PATTERN_04_LINHA.png"/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47662" t="6" r="5115" b="-154025"/>
            <a:stretch>
              <a:fillRect/>
            </a:stretch>
          </p:blipFill>
          <p:spPr bwMode="auto">
            <a:xfrm>
              <a:off x="-111760" y="6079065"/>
              <a:ext cx="2961588" cy="914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2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57201" y="4767265"/>
            <a:ext cx="339435" cy="273844"/>
          </a:xfrm>
          <a:prstGeom prst="rect">
            <a:avLst/>
          </a:prstGeom>
        </p:spPr>
        <p:txBody>
          <a:bodyPr/>
          <a:lstStyle>
            <a:lvl1pPr algn="l">
              <a:defRPr sz="668">
                <a:solidFill>
                  <a:schemeClr val="bg2"/>
                </a:solidFill>
              </a:defRPr>
            </a:lvl1pPr>
          </a:lstStyle>
          <a:p>
            <a:fld id="{08FDDC7F-4685-9F40-974F-5BFFD8258265}" type="slidenum">
              <a:rPr lang="en-US" smtClean="0">
                <a:solidFill>
                  <a:srgbClr val="E0DBC8"/>
                </a:solidFill>
              </a:rPr>
              <a:pPr/>
              <a:t>‹nº›</a:t>
            </a:fld>
            <a:endParaRPr lang="en-US" dirty="0">
              <a:solidFill>
                <a:srgbClr val="E0DBC8"/>
              </a:solidFill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92731" y="4767265"/>
            <a:ext cx="2895600" cy="273844"/>
          </a:xfrm>
          <a:prstGeom prst="rect">
            <a:avLst/>
          </a:prstGeom>
        </p:spPr>
        <p:txBody>
          <a:bodyPr/>
          <a:lstStyle>
            <a:lvl1pPr algn="l">
              <a:defRPr sz="668">
                <a:solidFill>
                  <a:schemeClr val="bg2"/>
                </a:solidFill>
              </a:defRPr>
            </a:lvl1pPr>
          </a:lstStyle>
          <a:p>
            <a:pPr defTabSz="611117"/>
            <a:endParaRPr lang="en-US" dirty="0">
              <a:solidFill>
                <a:srgbClr val="E0DBC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41662257"/>
      </p:ext>
    </p:extLst>
  </p:cSld>
  <p:clrMapOvr>
    <a:masterClrMapping/>
  </p:clrMapOvr>
  <p:transition spd="slow"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esta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3" descr="elemento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" y="2714628"/>
            <a:ext cx="8372475" cy="13644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ectangle 6"/>
          <p:cNvSpPr/>
          <p:nvPr userDrawn="1"/>
        </p:nvSpPr>
        <p:spPr>
          <a:xfrm>
            <a:off x="1" y="469106"/>
            <a:ext cx="6561138" cy="293846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anchor="ctr"/>
          <a:lstStyle/>
          <a:p>
            <a:pPr algn="ctr" defTabSz="611117">
              <a:defRPr/>
            </a:pPr>
            <a:endParaRPr lang="en-US" sz="1203">
              <a:solidFill>
                <a:srgbClr val="1E1E1E"/>
              </a:solidFill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306390" y="666750"/>
            <a:ext cx="5895445" cy="2539604"/>
          </a:xfrm>
        </p:spPr>
        <p:txBody>
          <a:bodyPr anchor="ctr"/>
          <a:lstStyle>
            <a:lvl1pPr>
              <a:defRPr i="1">
                <a:solidFill>
                  <a:schemeClr val="bg1"/>
                </a:solidFill>
              </a:defRPr>
            </a:lvl1pPr>
          </a:lstStyle>
          <a:p>
            <a:pPr lvl="0"/>
            <a:r>
              <a:rPr lang="x-none" dirty="0"/>
              <a:t>“Destaque”</a:t>
            </a:r>
          </a:p>
        </p:txBody>
      </p:sp>
      <p:sp>
        <p:nvSpPr>
          <p:cNvPr id="5" name="Slide Number Placeholder 2"/>
          <p:cNvSpPr>
            <a:spLocks noGrp="1"/>
          </p:cNvSpPr>
          <p:nvPr>
            <p:ph type="sldNum" sz="quarter" idx="11"/>
          </p:nvPr>
        </p:nvSpPr>
        <p:spPr>
          <a:xfrm>
            <a:off x="8678596" y="87476"/>
            <a:ext cx="339435" cy="273844"/>
          </a:xfrm>
        </p:spPr>
        <p:txBody>
          <a:bodyPr/>
          <a:lstStyle/>
          <a:p>
            <a:fld id="{08FDDC7F-4685-9F40-974F-5BFFD8258265}" type="slidenum">
              <a:rPr lang="en-US" smtClean="0">
                <a:solidFill>
                  <a:srgbClr val="1E1E1E"/>
                </a:solidFill>
              </a:rPr>
              <a:pPr/>
              <a:t>‹nº›</a:t>
            </a:fld>
            <a:endParaRPr lang="en-US" dirty="0">
              <a:solidFill>
                <a:srgbClr val="1E1E1E"/>
              </a:solidFill>
            </a:endParaRPr>
          </a:p>
        </p:txBody>
      </p:sp>
      <p:sp>
        <p:nvSpPr>
          <p:cNvPr id="8" name="Footer Placeholder 3"/>
          <p:cNvSpPr>
            <a:spLocks noGrp="1"/>
          </p:cNvSpPr>
          <p:nvPr>
            <p:ph type="ftr" sz="quarter" idx="12"/>
          </p:nvPr>
        </p:nvSpPr>
        <p:spPr>
          <a:xfrm>
            <a:off x="692731" y="4767265"/>
            <a:ext cx="2895600" cy="273844"/>
          </a:xfrm>
          <a:prstGeom prst="rect">
            <a:avLst/>
          </a:prstGeom>
        </p:spPr>
        <p:txBody>
          <a:bodyPr/>
          <a:lstStyle/>
          <a:p>
            <a:pPr defTabSz="611117"/>
            <a:endParaRPr lang="en-US" dirty="0">
              <a:solidFill>
                <a:srgbClr val="1E1E1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25107920"/>
      </p:ext>
    </p:extLst>
  </p:cSld>
  <p:clrMapOvr>
    <a:masterClrMapping/>
  </p:clrMapOvr>
  <p:transition spd="slow"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57202" y="939323"/>
            <a:ext cx="6564435" cy="3433518"/>
          </a:xfrm>
        </p:spPr>
        <p:txBody>
          <a:bodyPr>
            <a:normAutofit/>
          </a:bodyPr>
          <a:lstStyle>
            <a:lvl1pPr>
              <a:defRPr sz="1203" baseline="0"/>
            </a:lvl1pPr>
          </a:lstStyle>
          <a:p>
            <a:pPr lvl="0"/>
            <a:r>
              <a:rPr lang="x-none" dirty="0"/>
              <a:t>Texto, gráfico ou tabela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4430" y="69058"/>
            <a:ext cx="339435" cy="273844"/>
          </a:xfrm>
          <a:prstGeom prst="rect">
            <a:avLst/>
          </a:prstGeom>
        </p:spPr>
        <p:txBody>
          <a:bodyPr/>
          <a:lstStyle>
            <a:lvl1pPr algn="l">
              <a:defRPr sz="668">
                <a:solidFill>
                  <a:schemeClr val="tx1"/>
                </a:solidFill>
              </a:defRPr>
            </a:lvl1pPr>
          </a:lstStyle>
          <a:p>
            <a:fld id="{08FDDC7F-4685-9F40-974F-5BFFD8258265}" type="slidenum">
              <a:rPr lang="en-US" smtClean="0">
                <a:solidFill>
                  <a:srgbClr val="1E1E1E"/>
                </a:solidFill>
              </a:rPr>
              <a:pPr/>
              <a:t>‹nº›</a:t>
            </a:fld>
            <a:endParaRPr lang="en-US" dirty="0">
              <a:solidFill>
                <a:srgbClr val="1E1E1E"/>
              </a:solidFill>
            </a:endParaRPr>
          </a:p>
        </p:txBody>
      </p:sp>
      <p:grpSp>
        <p:nvGrpSpPr>
          <p:cNvPr id="8" name="Group 6"/>
          <p:cNvGrpSpPr>
            <a:grpSpLocks/>
          </p:cNvGrpSpPr>
          <p:nvPr userDrawn="1"/>
        </p:nvGrpSpPr>
        <p:grpSpPr bwMode="auto">
          <a:xfrm rot="10800000">
            <a:off x="0" y="4515968"/>
            <a:ext cx="9144000" cy="67865"/>
            <a:chOff x="-111760" y="6079065"/>
            <a:chExt cx="9144000" cy="91442"/>
          </a:xfrm>
        </p:grpSpPr>
        <p:pic>
          <p:nvPicPr>
            <p:cNvPr id="9" name="Picture 7" descr="PATTERN_04_LINHA.png"/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-2" r="1782" b="-127019"/>
            <a:stretch>
              <a:fillRect/>
            </a:stretch>
          </p:blipFill>
          <p:spPr bwMode="auto">
            <a:xfrm>
              <a:off x="2872754" y="6079065"/>
              <a:ext cx="6159486" cy="817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0" name="Picture 8" descr="PATTERN_04_LINHA.png"/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47662" t="6" r="5115" b="-154025"/>
            <a:stretch>
              <a:fillRect/>
            </a:stretch>
          </p:blipFill>
          <p:spPr bwMode="auto">
            <a:xfrm>
              <a:off x="-111760" y="6079065"/>
              <a:ext cx="2961588" cy="914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2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92731" y="4767265"/>
            <a:ext cx="2895600" cy="273844"/>
          </a:xfrm>
          <a:prstGeom prst="rect">
            <a:avLst/>
          </a:prstGeom>
        </p:spPr>
        <p:txBody>
          <a:bodyPr/>
          <a:lstStyle>
            <a:lvl1pPr algn="l">
              <a:defRPr sz="668">
                <a:solidFill>
                  <a:schemeClr val="tx1"/>
                </a:solidFill>
              </a:defRPr>
            </a:lvl1pPr>
          </a:lstStyle>
          <a:p>
            <a:pPr defTabSz="611117"/>
            <a:endParaRPr lang="en-US" dirty="0">
              <a:solidFill>
                <a:srgbClr val="1E1E1E"/>
              </a:solidFill>
            </a:endParaRPr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456684" y="205978"/>
            <a:ext cx="6564913" cy="601523"/>
          </a:xfrm>
        </p:spPr>
        <p:txBody>
          <a:bodyPr>
            <a:normAutofit/>
          </a:bodyPr>
          <a:lstStyle>
            <a:lvl1pPr>
              <a:defRPr sz="1604" b="1">
                <a:solidFill>
                  <a:srgbClr val="FC0006"/>
                </a:solidFill>
              </a:defRPr>
            </a:lvl1pPr>
          </a:lstStyle>
          <a:p>
            <a:r>
              <a:rPr lang="x-none" dirty="0"/>
              <a:t>Título</a:t>
            </a:r>
            <a:endParaRPr lang="en-US" dirty="0"/>
          </a:p>
        </p:txBody>
      </p:sp>
      <p:pic>
        <p:nvPicPr>
          <p:cNvPr id="13" name="Imagem 12"/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4966"/>
          <a:stretch/>
        </p:blipFill>
        <p:spPr>
          <a:xfrm>
            <a:off x="7766228" y="4646937"/>
            <a:ext cx="1377773" cy="3941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2160075"/>
      </p:ext>
    </p:extLst>
  </p:cSld>
  <p:clrMapOvr>
    <a:masterClrMapping/>
  </p:clrMapOvr>
  <p:transition spd="slow"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ítulo, texto e grafi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57202" y="939326"/>
            <a:ext cx="6564435" cy="557462"/>
          </a:xfrm>
        </p:spPr>
        <p:txBody>
          <a:bodyPr>
            <a:normAutofit/>
          </a:bodyPr>
          <a:lstStyle>
            <a:lvl1pPr marL="0" indent="0">
              <a:buNone/>
              <a:defRPr sz="1203" i="1"/>
            </a:lvl1pPr>
          </a:lstStyle>
          <a:p>
            <a:pPr lvl="0"/>
            <a:r>
              <a:rPr lang="x-none" dirty="0"/>
              <a:t>Texto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24888" y="194766"/>
            <a:ext cx="339435" cy="273844"/>
          </a:xfrm>
          <a:prstGeom prst="rect">
            <a:avLst/>
          </a:prstGeom>
        </p:spPr>
        <p:txBody>
          <a:bodyPr/>
          <a:lstStyle>
            <a:lvl1pPr algn="l">
              <a:defRPr sz="668">
                <a:solidFill>
                  <a:schemeClr val="tx1"/>
                </a:solidFill>
              </a:defRPr>
            </a:lvl1pPr>
          </a:lstStyle>
          <a:p>
            <a:fld id="{08FDDC7F-4685-9F40-974F-5BFFD8258265}" type="slidenum">
              <a:rPr lang="en-US" smtClean="0">
                <a:solidFill>
                  <a:srgbClr val="1E1E1E"/>
                </a:solidFill>
              </a:rPr>
              <a:pPr/>
              <a:t>‹nº›</a:t>
            </a:fld>
            <a:endParaRPr lang="en-US" dirty="0">
              <a:solidFill>
                <a:srgbClr val="1E1E1E"/>
              </a:solidFill>
            </a:endParaRPr>
          </a:p>
        </p:txBody>
      </p:sp>
      <p:grpSp>
        <p:nvGrpSpPr>
          <p:cNvPr id="8" name="Group 6"/>
          <p:cNvGrpSpPr>
            <a:grpSpLocks/>
          </p:cNvGrpSpPr>
          <p:nvPr userDrawn="1"/>
        </p:nvGrpSpPr>
        <p:grpSpPr bwMode="auto">
          <a:xfrm rot="10800000">
            <a:off x="0" y="4525569"/>
            <a:ext cx="9144000" cy="67865"/>
            <a:chOff x="-111760" y="6079065"/>
            <a:chExt cx="9144000" cy="91442"/>
          </a:xfrm>
        </p:grpSpPr>
        <p:pic>
          <p:nvPicPr>
            <p:cNvPr id="9" name="Picture 7" descr="PATTERN_04_LINHA.png"/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-2" r="1782" b="-127019"/>
            <a:stretch>
              <a:fillRect/>
            </a:stretch>
          </p:blipFill>
          <p:spPr bwMode="auto">
            <a:xfrm>
              <a:off x="2872754" y="6079065"/>
              <a:ext cx="6159486" cy="817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0" name="Picture 8" descr="PATTERN_04_LINHA.png"/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47662" t="6" r="5115" b="-154025"/>
            <a:stretch>
              <a:fillRect/>
            </a:stretch>
          </p:blipFill>
          <p:spPr bwMode="auto">
            <a:xfrm>
              <a:off x="-111760" y="6079065"/>
              <a:ext cx="2961588" cy="914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2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92731" y="4767265"/>
            <a:ext cx="2895600" cy="273844"/>
          </a:xfrm>
          <a:prstGeom prst="rect">
            <a:avLst/>
          </a:prstGeom>
        </p:spPr>
        <p:txBody>
          <a:bodyPr/>
          <a:lstStyle>
            <a:lvl1pPr algn="l">
              <a:defRPr sz="668">
                <a:solidFill>
                  <a:schemeClr val="tx1"/>
                </a:solidFill>
              </a:defRPr>
            </a:lvl1pPr>
          </a:lstStyle>
          <a:p>
            <a:pPr defTabSz="611117"/>
            <a:endParaRPr lang="en-US" dirty="0">
              <a:solidFill>
                <a:srgbClr val="1E1E1E"/>
              </a:solidFill>
            </a:endParaRPr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456684" y="205978"/>
            <a:ext cx="6564913" cy="601523"/>
          </a:xfrm>
        </p:spPr>
        <p:txBody>
          <a:bodyPr>
            <a:normAutofit/>
          </a:bodyPr>
          <a:lstStyle>
            <a:lvl1pPr>
              <a:defRPr sz="1604" b="1">
                <a:solidFill>
                  <a:srgbClr val="FC0006"/>
                </a:solidFill>
              </a:defRPr>
            </a:lvl1pPr>
          </a:lstStyle>
          <a:p>
            <a:r>
              <a:rPr lang="x-none" dirty="0"/>
              <a:t>Título</a:t>
            </a:r>
            <a:endParaRPr lang="en-US" dirty="0"/>
          </a:p>
        </p:txBody>
      </p:sp>
      <p:sp>
        <p:nvSpPr>
          <p:cNvPr id="4" name="Chart Placeholder 3"/>
          <p:cNvSpPr>
            <a:spLocks noGrp="1"/>
          </p:cNvSpPr>
          <p:nvPr>
            <p:ph type="chart" sz="quarter" idx="13" hasCustomPrompt="1"/>
          </p:nvPr>
        </p:nvSpPr>
        <p:spPr>
          <a:xfrm>
            <a:off x="457201" y="1641930"/>
            <a:ext cx="8167688" cy="2703853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dirty="0" err="1"/>
              <a:t>Gráfico</a:t>
            </a:r>
            <a:endParaRPr lang="en-US" dirty="0"/>
          </a:p>
        </p:txBody>
      </p:sp>
      <p:pic>
        <p:nvPicPr>
          <p:cNvPr id="11" name="Imagem 10"/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4966"/>
          <a:stretch/>
        </p:blipFill>
        <p:spPr>
          <a:xfrm>
            <a:off x="7766228" y="4646937"/>
            <a:ext cx="1377773" cy="3941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8299312"/>
      </p:ext>
    </p:extLst>
  </p:cSld>
  <p:clrMapOvr>
    <a:masterClrMapping/>
  </p:clrMapOvr>
  <p:transition spd="slow"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ítulo e 2 colun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2" y="205978"/>
            <a:ext cx="6564395" cy="601523"/>
          </a:xfrm>
        </p:spPr>
        <p:txBody>
          <a:bodyPr>
            <a:normAutofit/>
          </a:bodyPr>
          <a:lstStyle>
            <a:lvl1pPr>
              <a:defRPr sz="1604" b="1">
                <a:solidFill>
                  <a:srgbClr val="FC0006"/>
                </a:solidFill>
              </a:defRPr>
            </a:lvl1pPr>
          </a:lstStyle>
          <a:p>
            <a:r>
              <a:rPr lang="x-none" dirty="0"/>
              <a:t>Título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57201" y="939324"/>
            <a:ext cx="4038600" cy="3433518"/>
          </a:xfrm>
        </p:spPr>
        <p:txBody>
          <a:bodyPr>
            <a:normAutofit/>
          </a:bodyPr>
          <a:lstStyle>
            <a:lvl1pPr>
              <a:defRPr sz="1203"/>
            </a:lvl1pPr>
            <a:lvl2pPr>
              <a:defRPr sz="1604"/>
            </a:lvl2pPr>
            <a:lvl3pPr>
              <a:defRPr sz="1337"/>
            </a:lvl3pPr>
            <a:lvl4pPr>
              <a:defRPr sz="1203"/>
            </a:lvl4pPr>
            <a:lvl5pPr>
              <a:defRPr sz="1203"/>
            </a:lvl5pPr>
            <a:lvl6pPr>
              <a:defRPr sz="1203"/>
            </a:lvl6pPr>
            <a:lvl7pPr>
              <a:defRPr sz="1203"/>
            </a:lvl7pPr>
            <a:lvl8pPr>
              <a:defRPr sz="1203"/>
            </a:lvl8pPr>
            <a:lvl9pPr>
              <a:defRPr sz="1203"/>
            </a:lvl9pPr>
          </a:lstStyle>
          <a:p>
            <a:pPr lvl="0"/>
            <a:r>
              <a:rPr lang="x-none" dirty="0"/>
              <a:t>Texto, gráfico ou tabela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648200" y="939324"/>
            <a:ext cx="4038600" cy="3433518"/>
          </a:xfrm>
        </p:spPr>
        <p:txBody>
          <a:bodyPr>
            <a:normAutofit/>
          </a:bodyPr>
          <a:lstStyle>
            <a:lvl1pPr>
              <a:defRPr sz="1203"/>
            </a:lvl1pPr>
            <a:lvl2pPr>
              <a:defRPr sz="1604"/>
            </a:lvl2pPr>
            <a:lvl3pPr>
              <a:defRPr sz="1337"/>
            </a:lvl3pPr>
            <a:lvl4pPr>
              <a:defRPr sz="1203"/>
            </a:lvl4pPr>
            <a:lvl5pPr>
              <a:defRPr sz="1203"/>
            </a:lvl5pPr>
            <a:lvl6pPr>
              <a:defRPr sz="1203"/>
            </a:lvl6pPr>
            <a:lvl7pPr>
              <a:defRPr sz="1203"/>
            </a:lvl7pPr>
            <a:lvl8pPr>
              <a:defRPr sz="1203"/>
            </a:lvl8pPr>
            <a:lvl9pPr>
              <a:defRPr sz="1203"/>
            </a:lvl9pPr>
          </a:lstStyle>
          <a:p>
            <a:pPr lvl="0"/>
            <a:r>
              <a:rPr lang="x-none" dirty="0"/>
              <a:t>Texto, gráfico ou tabela</a:t>
            </a:r>
          </a:p>
        </p:txBody>
      </p:sp>
      <p:sp>
        <p:nvSpPr>
          <p:cNvPr id="1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4430" y="187392"/>
            <a:ext cx="339435" cy="273844"/>
          </a:xfrm>
          <a:prstGeom prst="rect">
            <a:avLst/>
          </a:prstGeom>
        </p:spPr>
        <p:txBody>
          <a:bodyPr/>
          <a:lstStyle>
            <a:lvl1pPr algn="l">
              <a:defRPr sz="668">
                <a:solidFill>
                  <a:schemeClr val="tx1"/>
                </a:solidFill>
              </a:defRPr>
            </a:lvl1pPr>
          </a:lstStyle>
          <a:p>
            <a:fld id="{08FDDC7F-4685-9F40-974F-5BFFD8258265}" type="slidenum">
              <a:rPr lang="en-US" smtClean="0">
                <a:solidFill>
                  <a:srgbClr val="1E1E1E"/>
                </a:solidFill>
              </a:rPr>
              <a:pPr/>
              <a:t>‹nº›</a:t>
            </a:fld>
            <a:endParaRPr lang="en-US" dirty="0">
              <a:solidFill>
                <a:srgbClr val="1E1E1E"/>
              </a:solidFill>
            </a:endParaRPr>
          </a:p>
        </p:txBody>
      </p:sp>
      <p:grpSp>
        <p:nvGrpSpPr>
          <p:cNvPr id="18" name="Group 6"/>
          <p:cNvGrpSpPr>
            <a:grpSpLocks/>
          </p:cNvGrpSpPr>
          <p:nvPr userDrawn="1"/>
        </p:nvGrpSpPr>
        <p:grpSpPr bwMode="auto">
          <a:xfrm rot="10800000">
            <a:off x="0" y="4525569"/>
            <a:ext cx="9144000" cy="67865"/>
            <a:chOff x="-111760" y="6079065"/>
            <a:chExt cx="9144000" cy="91442"/>
          </a:xfrm>
        </p:grpSpPr>
        <p:pic>
          <p:nvPicPr>
            <p:cNvPr id="19" name="Picture 7" descr="PATTERN_04_LINHA.png"/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-2" r="1782" b="-127019"/>
            <a:stretch>
              <a:fillRect/>
            </a:stretch>
          </p:blipFill>
          <p:spPr bwMode="auto">
            <a:xfrm>
              <a:off x="2872754" y="6079065"/>
              <a:ext cx="6159486" cy="817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0" name="Picture 8" descr="PATTERN_04_LINHA.png"/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47662" t="6" r="5115" b="-154025"/>
            <a:stretch>
              <a:fillRect/>
            </a:stretch>
          </p:blipFill>
          <p:spPr bwMode="auto">
            <a:xfrm>
              <a:off x="-111760" y="6079065"/>
              <a:ext cx="2961588" cy="914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1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92731" y="4767265"/>
            <a:ext cx="2895600" cy="273844"/>
          </a:xfrm>
          <a:prstGeom prst="rect">
            <a:avLst/>
          </a:prstGeom>
        </p:spPr>
        <p:txBody>
          <a:bodyPr/>
          <a:lstStyle>
            <a:lvl1pPr algn="l">
              <a:defRPr sz="668">
                <a:solidFill>
                  <a:schemeClr val="tx1"/>
                </a:solidFill>
              </a:defRPr>
            </a:lvl1pPr>
          </a:lstStyle>
          <a:p>
            <a:pPr defTabSz="611117"/>
            <a:endParaRPr lang="en-US" dirty="0">
              <a:solidFill>
                <a:srgbClr val="1E1E1E"/>
              </a:solidFill>
            </a:endParaRPr>
          </a:p>
        </p:txBody>
      </p:sp>
      <p:pic>
        <p:nvPicPr>
          <p:cNvPr id="11" name="Imagem 10"/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4966"/>
          <a:stretch/>
        </p:blipFill>
        <p:spPr>
          <a:xfrm>
            <a:off x="7766228" y="4646937"/>
            <a:ext cx="1377773" cy="3941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7471103"/>
      </p:ext>
    </p:extLst>
  </p:cSld>
  <p:clrMapOvr>
    <a:masterClrMapping/>
  </p:clrMapOvr>
  <p:transition spd="slow"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ítulo e 2 colun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57201" y="938075"/>
            <a:ext cx="4038600" cy="331843"/>
          </a:xfrm>
        </p:spPr>
        <p:txBody>
          <a:bodyPr anchor="b">
            <a:normAutofit/>
          </a:bodyPr>
          <a:lstStyle>
            <a:lvl1pPr marL="0" indent="0">
              <a:buNone/>
              <a:defRPr sz="1337" b="1">
                <a:solidFill>
                  <a:schemeClr val="tx2"/>
                </a:solidFill>
              </a:defRPr>
            </a:lvl1pPr>
            <a:lvl2pPr marL="305558" indent="0">
              <a:buNone/>
              <a:defRPr sz="1337" b="1"/>
            </a:lvl2pPr>
            <a:lvl3pPr marL="611117" indent="0">
              <a:buNone/>
              <a:defRPr sz="1203" b="1"/>
            </a:lvl3pPr>
            <a:lvl4pPr marL="916675" indent="0">
              <a:buNone/>
              <a:defRPr sz="1070" b="1"/>
            </a:lvl4pPr>
            <a:lvl5pPr marL="1222233" indent="0">
              <a:buNone/>
              <a:defRPr sz="1070" b="1"/>
            </a:lvl5pPr>
            <a:lvl6pPr marL="1527791" indent="0">
              <a:buNone/>
              <a:defRPr sz="1070" b="1"/>
            </a:lvl6pPr>
            <a:lvl7pPr marL="1833350" indent="0">
              <a:buNone/>
              <a:defRPr sz="1070" b="1"/>
            </a:lvl7pPr>
            <a:lvl8pPr marL="2138907" indent="0">
              <a:buNone/>
              <a:defRPr sz="1070" b="1"/>
            </a:lvl8pPr>
            <a:lvl9pPr marL="2444465" indent="0">
              <a:buNone/>
              <a:defRPr sz="1070" b="1"/>
            </a:lvl9pPr>
          </a:lstStyle>
          <a:p>
            <a:pPr lvl="0"/>
            <a:r>
              <a:rPr lang="x-none" dirty="0"/>
              <a:t>Subtítulo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4648200" y="938075"/>
            <a:ext cx="4038600" cy="331843"/>
          </a:xfrm>
        </p:spPr>
        <p:txBody>
          <a:bodyPr anchor="b">
            <a:normAutofit/>
          </a:bodyPr>
          <a:lstStyle>
            <a:lvl1pPr marL="0" indent="0">
              <a:buNone/>
              <a:defRPr sz="1337" b="1">
                <a:solidFill>
                  <a:schemeClr val="tx2"/>
                </a:solidFill>
              </a:defRPr>
            </a:lvl1pPr>
            <a:lvl2pPr marL="305558" indent="0">
              <a:buNone/>
              <a:defRPr sz="1337" b="1"/>
            </a:lvl2pPr>
            <a:lvl3pPr marL="611117" indent="0">
              <a:buNone/>
              <a:defRPr sz="1203" b="1"/>
            </a:lvl3pPr>
            <a:lvl4pPr marL="916675" indent="0">
              <a:buNone/>
              <a:defRPr sz="1070" b="1"/>
            </a:lvl4pPr>
            <a:lvl5pPr marL="1222233" indent="0">
              <a:buNone/>
              <a:defRPr sz="1070" b="1"/>
            </a:lvl5pPr>
            <a:lvl6pPr marL="1527791" indent="0">
              <a:buNone/>
              <a:defRPr sz="1070" b="1"/>
            </a:lvl6pPr>
            <a:lvl7pPr marL="1833350" indent="0">
              <a:buNone/>
              <a:defRPr sz="1070" b="1"/>
            </a:lvl7pPr>
            <a:lvl8pPr marL="2138907" indent="0">
              <a:buNone/>
              <a:defRPr sz="1070" b="1"/>
            </a:lvl8pPr>
            <a:lvl9pPr marL="2444465" indent="0">
              <a:buNone/>
              <a:defRPr sz="1070" b="1"/>
            </a:lvl9pPr>
          </a:lstStyle>
          <a:p>
            <a:pPr lvl="0"/>
            <a:r>
              <a:rPr lang="x-none" dirty="0"/>
              <a:t>Subtítulo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457202" y="205978"/>
            <a:ext cx="6564395" cy="601523"/>
          </a:xfrm>
        </p:spPr>
        <p:txBody>
          <a:bodyPr>
            <a:normAutofit/>
          </a:bodyPr>
          <a:lstStyle>
            <a:lvl1pPr>
              <a:defRPr sz="1604" b="1">
                <a:solidFill>
                  <a:srgbClr val="FC0006"/>
                </a:solidFill>
              </a:defRPr>
            </a:lvl1pPr>
          </a:lstStyle>
          <a:p>
            <a:r>
              <a:rPr lang="x-none" dirty="0"/>
              <a:t>Título</a:t>
            </a:r>
            <a:endParaRPr lang="en-US" dirty="0"/>
          </a:p>
        </p:txBody>
      </p:sp>
      <p:sp>
        <p:nvSpPr>
          <p:cNvPr id="12" name="Content Placeholder 2"/>
          <p:cNvSpPr>
            <a:spLocks noGrp="1"/>
          </p:cNvSpPr>
          <p:nvPr>
            <p:ph sz="half" idx="10" hasCustomPrompt="1"/>
          </p:nvPr>
        </p:nvSpPr>
        <p:spPr>
          <a:xfrm>
            <a:off x="457201" y="1269918"/>
            <a:ext cx="4038600" cy="3102926"/>
          </a:xfrm>
        </p:spPr>
        <p:txBody>
          <a:bodyPr>
            <a:normAutofit/>
          </a:bodyPr>
          <a:lstStyle>
            <a:lvl1pPr>
              <a:defRPr sz="1203"/>
            </a:lvl1pPr>
            <a:lvl2pPr>
              <a:defRPr sz="1604"/>
            </a:lvl2pPr>
            <a:lvl3pPr>
              <a:defRPr sz="1337"/>
            </a:lvl3pPr>
            <a:lvl4pPr>
              <a:defRPr sz="1203"/>
            </a:lvl4pPr>
            <a:lvl5pPr>
              <a:defRPr sz="1203"/>
            </a:lvl5pPr>
            <a:lvl6pPr>
              <a:defRPr sz="1203"/>
            </a:lvl6pPr>
            <a:lvl7pPr>
              <a:defRPr sz="1203"/>
            </a:lvl7pPr>
            <a:lvl8pPr>
              <a:defRPr sz="1203"/>
            </a:lvl8pPr>
            <a:lvl9pPr>
              <a:defRPr sz="1203"/>
            </a:lvl9pPr>
          </a:lstStyle>
          <a:p>
            <a:pPr lvl="0"/>
            <a:r>
              <a:rPr lang="x-none" dirty="0"/>
              <a:t>Texto, gráfico ou tabela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648200" y="1269918"/>
            <a:ext cx="4038600" cy="3102926"/>
          </a:xfrm>
        </p:spPr>
        <p:txBody>
          <a:bodyPr>
            <a:normAutofit/>
          </a:bodyPr>
          <a:lstStyle>
            <a:lvl1pPr>
              <a:defRPr sz="1203"/>
            </a:lvl1pPr>
            <a:lvl2pPr>
              <a:defRPr sz="1604"/>
            </a:lvl2pPr>
            <a:lvl3pPr>
              <a:defRPr sz="1337"/>
            </a:lvl3pPr>
            <a:lvl4pPr>
              <a:defRPr sz="1203"/>
            </a:lvl4pPr>
            <a:lvl5pPr>
              <a:defRPr sz="1203"/>
            </a:lvl5pPr>
            <a:lvl6pPr>
              <a:defRPr sz="1203"/>
            </a:lvl6pPr>
            <a:lvl7pPr>
              <a:defRPr sz="1203"/>
            </a:lvl7pPr>
            <a:lvl8pPr>
              <a:defRPr sz="1203"/>
            </a:lvl8pPr>
            <a:lvl9pPr>
              <a:defRPr sz="1203"/>
            </a:lvl9pPr>
          </a:lstStyle>
          <a:p>
            <a:pPr lvl="0"/>
            <a:r>
              <a:rPr lang="x-none" dirty="0"/>
              <a:t>Texto, gráfico ou tabela</a:t>
            </a:r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4430" y="194766"/>
            <a:ext cx="339435" cy="273844"/>
          </a:xfrm>
          <a:prstGeom prst="rect">
            <a:avLst/>
          </a:prstGeom>
        </p:spPr>
        <p:txBody>
          <a:bodyPr/>
          <a:lstStyle>
            <a:lvl1pPr algn="l">
              <a:defRPr sz="668">
                <a:solidFill>
                  <a:schemeClr val="tx1"/>
                </a:solidFill>
              </a:defRPr>
            </a:lvl1pPr>
          </a:lstStyle>
          <a:p>
            <a:fld id="{08FDDC7F-4685-9F40-974F-5BFFD8258265}" type="slidenum">
              <a:rPr lang="en-US" smtClean="0">
                <a:solidFill>
                  <a:srgbClr val="1E1E1E"/>
                </a:solidFill>
              </a:rPr>
              <a:pPr/>
              <a:t>‹nº›</a:t>
            </a:fld>
            <a:endParaRPr lang="en-US" dirty="0">
              <a:solidFill>
                <a:srgbClr val="1E1E1E"/>
              </a:solidFill>
            </a:endParaRPr>
          </a:p>
        </p:txBody>
      </p:sp>
      <p:grpSp>
        <p:nvGrpSpPr>
          <p:cNvPr id="16" name="Group 6"/>
          <p:cNvGrpSpPr>
            <a:grpSpLocks/>
          </p:cNvGrpSpPr>
          <p:nvPr userDrawn="1"/>
        </p:nvGrpSpPr>
        <p:grpSpPr bwMode="auto">
          <a:xfrm rot="10800000">
            <a:off x="0" y="4525569"/>
            <a:ext cx="9144000" cy="67865"/>
            <a:chOff x="-111760" y="6079065"/>
            <a:chExt cx="9144000" cy="91442"/>
          </a:xfrm>
        </p:grpSpPr>
        <p:pic>
          <p:nvPicPr>
            <p:cNvPr id="17" name="Picture 7" descr="PATTERN_04_LINHA.png"/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-2" r="1782" b="-127019"/>
            <a:stretch>
              <a:fillRect/>
            </a:stretch>
          </p:blipFill>
          <p:spPr bwMode="auto">
            <a:xfrm>
              <a:off x="2872754" y="6079065"/>
              <a:ext cx="6159486" cy="817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8" name="Picture 8" descr="PATTERN_04_LINHA.png"/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47662" t="6" r="5115" b="-154025"/>
            <a:stretch>
              <a:fillRect/>
            </a:stretch>
          </p:blipFill>
          <p:spPr bwMode="auto">
            <a:xfrm>
              <a:off x="-111760" y="6079065"/>
              <a:ext cx="2961588" cy="914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9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92731" y="4767265"/>
            <a:ext cx="2895600" cy="273844"/>
          </a:xfrm>
          <a:prstGeom prst="rect">
            <a:avLst/>
          </a:prstGeom>
        </p:spPr>
        <p:txBody>
          <a:bodyPr/>
          <a:lstStyle>
            <a:lvl1pPr algn="l">
              <a:defRPr sz="668">
                <a:solidFill>
                  <a:schemeClr val="tx1"/>
                </a:solidFill>
              </a:defRPr>
            </a:lvl1pPr>
          </a:lstStyle>
          <a:p>
            <a:pPr defTabSz="611117"/>
            <a:endParaRPr lang="en-US" dirty="0">
              <a:solidFill>
                <a:srgbClr val="1E1E1E"/>
              </a:solidFill>
            </a:endParaRPr>
          </a:p>
        </p:txBody>
      </p:sp>
      <p:pic>
        <p:nvPicPr>
          <p:cNvPr id="20" name="Imagem 19"/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4966"/>
          <a:stretch/>
        </p:blipFill>
        <p:spPr>
          <a:xfrm>
            <a:off x="7766228" y="4646937"/>
            <a:ext cx="1377773" cy="3941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6379483"/>
      </p:ext>
    </p:extLst>
  </p:cSld>
  <p:clrMapOvr>
    <a:masterClrMapping/>
  </p:clrMapOvr>
  <p:transition spd="slow"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em branco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m 3">
            <a:extLst>
              <a:ext uri="{FF2B5EF4-FFF2-40B4-BE49-F238E27FC236}">
                <a16:creationId xmlns:a16="http://schemas.microsoft.com/office/drawing/2014/main" id="{25348740-15B1-446E-8ABA-452D4F495B0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7127" y="4373217"/>
            <a:ext cx="716873" cy="7702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25003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extLst>
    <p:ext uri="{DCECCB84-F9BA-43D5-87BE-67443E8EF086}">
      <p15:sldGuideLst xmlns:p15="http://schemas.microsoft.com/office/powerpoint/2012/main">
        <p15:guide id="1" orient="horz" pos="2700">
          <p15:clr>
            <a:srgbClr val="FBAE40"/>
          </p15:clr>
        </p15:guide>
        <p15:guide id="2" pos="5384">
          <p15:clr>
            <a:srgbClr val="FBAE40"/>
          </p15:clr>
        </p15:guide>
        <p15:guide id="3" pos="374">
          <p15:clr>
            <a:srgbClr val="FBAE40"/>
          </p15:clr>
        </p15:guide>
        <p15:guide id="4" orient="horz" pos="306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ítulo, texto e imag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86801" y="87476"/>
            <a:ext cx="339435" cy="273844"/>
          </a:xfrm>
          <a:prstGeom prst="rect">
            <a:avLst/>
          </a:prstGeom>
        </p:spPr>
        <p:txBody>
          <a:bodyPr/>
          <a:lstStyle>
            <a:lvl1pPr algn="l">
              <a:defRPr sz="668">
                <a:solidFill>
                  <a:schemeClr val="tx1"/>
                </a:solidFill>
              </a:defRPr>
            </a:lvl1pPr>
          </a:lstStyle>
          <a:p>
            <a:fld id="{08FDDC7F-4685-9F40-974F-5BFFD8258265}" type="slidenum">
              <a:rPr lang="en-US" smtClean="0">
                <a:solidFill>
                  <a:srgbClr val="1E1E1E"/>
                </a:solidFill>
              </a:rPr>
              <a:pPr/>
              <a:t>‹nº›</a:t>
            </a:fld>
            <a:endParaRPr lang="en-US" dirty="0">
              <a:solidFill>
                <a:srgbClr val="1E1E1E"/>
              </a:solidFill>
            </a:endParaRPr>
          </a:p>
        </p:txBody>
      </p:sp>
      <p:grpSp>
        <p:nvGrpSpPr>
          <p:cNvPr id="8" name="Group 6"/>
          <p:cNvGrpSpPr>
            <a:grpSpLocks/>
          </p:cNvGrpSpPr>
          <p:nvPr userDrawn="1"/>
        </p:nvGrpSpPr>
        <p:grpSpPr bwMode="auto">
          <a:xfrm rot="10800000">
            <a:off x="0" y="4525569"/>
            <a:ext cx="9144000" cy="67865"/>
            <a:chOff x="-111760" y="6079065"/>
            <a:chExt cx="9144000" cy="91442"/>
          </a:xfrm>
        </p:grpSpPr>
        <p:pic>
          <p:nvPicPr>
            <p:cNvPr id="9" name="Picture 7" descr="PATTERN_04_LINHA.png"/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-2" r="1782" b="-127019"/>
            <a:stretch>
              <a:fillRect/>
            </a:stretch>
          </p:blipFill>
          <p:spPr bwMode="auto">
            <a:xfrm>
              <a:off x="2872754" y="6079065"/>
              <a:ext cx="6159486" cy="817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0" name="Picture 8" descr="PATTERN_04_LINHA.png"/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47662" t="6" r="5115" b="-154025"/>
            <a:stretch>
              <a:fillRect/>
            </a:stretch>
          </p:blipFill>
          <p:spPr bwMode="auto">
            <a:xfrm>
              <a:off x="-111760" y="6079065"/>
              <a:ext cx="2961588" cy="914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2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92731" y="4767265"/>
            <a:ext cx="2895600" cy="273844"/>
          </a:xfrm>
          <a:prstGeom prst="rect">
            <a:avLst/>
          </a:prstGeom>
        </p:spPr>
        <p:txBody>
          <a:bodyPr/>
          <a:lstStyle>
            <a:lvl1pPr algn="l">
              <a:defRPr sz="668">
                <a:solidFill>
                  <a:schemeClr val="tx1"/>
                </a:solidFill>
              </a:defRPr>
            </a:lvl1pPr>
          </a:lstStyle>
          <a:p>
            <a:pPr defTabSz="611117"/>
            <a:endParaRPr lang="en-US" dirty="0">
              <a:solidFill>
                <a:srgbClr val="1E1E1E"/>
              </a:solidFill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457202" y="2060866"/>
            <a:ext cx="6564395" cy="430654"/>
          </a:xfrm>
        </p:spPr>
        <p:txBody>
          <a:bodyPr>
            <a:normAutofit/>
          </a:bodyPr>
          <a:lstStyle>
            <a:lvl1pPr>
              <a:defRPr sz="1604" b="1">
                <a:solidFill>
                  <a:schemeClr val="accent1"/>
                </a:solidFill>
              </a:defRPr>
            </a:lvl1pPr>
          </a:lstStyle>
          <a:p>
            <a:r>
              <a:rPr lang="x-none" dirty="0"/>
              <a:t>Título</a:t>
            </a:r>
            <a:endParaRPr lang="en-US" dirty="0"/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9144000" cy="1939637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x-none" dirty="0"/>
              <a:t>imagem</a:t>
            </a:r>
            <a:endParaRPr lang="en-US" dirty="0"/>
          </a:p>
        </p:txBody>
      </p:sp>
      <p:sp>
        <p:nvSpPr>
          <p:cNvPr id="11" name="Content Placeholder 2"/>
          <p:cNvSpPr>
            <a:spLocks noGrp="1"/>
          </p:cNvSpPr>
          <p:nvPr>
            <p:ph sz="half" idx="10" hasCustomPrompt="1"/>
          </p:nvPr>
        </p:nvSpPr>
        <p:spPr>
          <a:xfrm>
            <a:off x="457201" y="2581240"/>
            <a:ext cx="4038600" cy="1791602"/>
          </a:xfrm>
        </p:spPr>
        <p:txBody>
          <a:bodyPr>
            <a:normAutofit/>
          </a:bodyPr>
          <a:lstStyle>
            <a:lvl1pPr>
              <a:defRPr sz="1203"/>
            </a:lvl1pPr>
            <a:lvl2pPr>
              <a:defRPr sz="1604"/>
            </a:lvl2pPr>
            <a:lvl3pPr>
              <a:defRPr sz="1337"/>
            </a:lvl3pPr>
            <a:lvl4pPr>
              <a:defRPr sz="1203"/>
            </a:lvl4pPr>
            <a:lvl5pPr>
              <a:defRPr sz="1203"/>
            </a:lvl5pPr>
            <a:lvl6pPr>
              <a:defRPr sz="1203"/>
            </a:lvl6pPr>
            <a:lvl7pPr>
              <a:defRPr sz="1203"/>
            </a:lvl7pPr>
            <a:lvl8pPr>
              <a:defRPr sz="1203"/>
            </a:lvl8pPr>
            <a:lvl9pPr>
              <a:defRPr sz="1203"/>
            </a:lvl9pPr>
          </a:lstStyle>
          <a:p>
            <a:pPr lvl="0"/>
            <a:r>
              <a:rPr lang="x-none" dirty="0"/>
              <a:t>Texto, gráfico ou tabela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648200" y="2581240"/>
            <a:ext cx="4038600" cy="1791602"/>
          </a:xfrm>
        </p:spPr>
        <p:txBody>
          <a:bodyPr>
            <a:normAutofit/>
          </a:bodyPr>
          <a:lstStyle>
            <a:lvl1pPr>
              <a:defRPr sz="1203"/>
            </a:lvl1pPr>
            <a:lvl2pPr>
              <a:defRPr sz="1604"/>
            </a:lvl2pPr>
            <a:lvl3pPr>
              <a:defRPr sz="1337"/>
            </a:lvl3pPr>
            <a:lvl4pPr>
              <a:defRPr sz="1203"/>
            </a:lvl4pPr>
            <a:lvl5pPr>
              <a:defRPr sz="1203"/>
            </a:lvl5pPr>
            <a:lvl6pPr>
              <a:defRPr sz="1203"/>
            </a:lvl6pPr>
            <a:lvl7pPr>
              <a:defRPr sz="1203"/>
            </a:lvl7pPr>
            <a:lvl8pPr>
              <a:defRPr sz="1203"/>
            </a:lvl8pPr>
            <a:lvl9pPr>
              <a:defRPr sz="1203"/>
            </a:lvl9pPr>
          </a:lstStyle>
          <a:p>
            <a:pPr lvl="0"/>
            <a:r>
              <a:rPr lang="x-none" dirty="0"/>
              <a:t>Texto, gráfico ou tabela</a:t>
            </a:r>
          </a:p>
        </p:txBody>
      </p:sp>
      <p:pic>
        <p:nvPicPr>
          <p:cNvPr id="13" name="Imagem 12"/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4966"/>
          <a:stretch/>
        </p:blipFill>
        <p:spPr>
          <a:xfrm>
            <a:off x="7766228" y="4646937"/>
            <a:ext cx="1377773" cy="3941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9243517"/>
      </p:ext>
    </p:extLst>
  </p:cSld>
  <p:clrMapOvr>
    <a:masterClrMapping/>
  </p:clrMapOvr>
  <p:transition spd="slow"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ítulo, texto e imag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41570" y="141482"/>
            <a:ext cx="339435" cy="273844"/>
          </a:xfrm>
          <a:prstGeom prst="rect">
            <a:avLst/>
          </a:prstGeom>
        </p:spPr>
        <p:txBody>
          <a:bodyPr/>
          <a:lstStyle>
            <a:lvl1pPr algn="l">
              <a:defRPr sz="668">
                <a:solidFill>
                  <a:schemeClr val="tx1"/>
                </a:solidFill>
              </a:defRPr>
            </a:lvl1pPr>
          </a:lstStyle>
          <a:p>
            <a:fld id="{08FDDC7F-4685-9F40-974F-5BFFD8258265}" type="slidenum">
              <a:rPr lang="en-US" smtClean="0">
                <a:solidFill>
                  <a:srgbClr val="1E1E1E"/>
                </a:solidFill>
              </a:rPr>
              <a:pPr/>
              <a:t>‹nº›</a:t>
            </a:fld>
            <a:endParaRPr lang="en-US" dirty="0">
              <a:solidFill>
                <a:srgbClr val="1E1E1E"/>
              </a:solidFill>
            </a:endParaRPr>
          </a:p>
        </p:txBody>
      </p:sp>
      <p:grpSp>
        <p:nvGrpSpPr>
          <p:cNvPr id="8" name="Group 6"/>
          <p:cNvGrpSpPr>
            <a:grpSpLocks/>
          </p:cNvGrpSpPr>
          <p:nvPr userDrawn="1"/>
        </p:nvGrpSpPr>
        <p:grpSpPr bwMode="auto">
          <a:xfrm rot="10800000">
            <a:off x="0" y="4525569"/>
            <a:ext cx="9144000" cy="67865"/>
            <a:chOff x="-111760" y="6079065"/>
            <a:chExt cx="9144000" cy="91442"/>
          </a:xfrm>
        </p:grpSpPr>
        <p:pic>
          <p:nvPicPr>
            <p:cNvPr id="9" name="Picture 7" descr="PATTERN_04_LINHA.png"/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-2" r="1782" b="-127019"/>
            <a:stretch>
              <a:fillRect/>
            </a:stretch>
          </p:blipFill>
          <p:spPr bwMode="auto">
            <a:xfrm>
              <a:off x="2872754" y="6079065"/>
              <a:ext cx="6159486" cy="817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0" name="Picture 8" descr="PATTERN_04_LINHA.png"/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47662" t="6" r="5115" b="-154025"/>
            <a:stretch>
              <a:fillRect/>
            </a:stretch>
          </p:blipFill>
          <p:spPr bwMode="auto">
            <a:xfrm>
              <a:off x="-111760" y="6079065"/>
              <a:ext cx="2961588" cy="914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2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92731" y="4767265"/>
            <a:ext cx="2895600" cy="273844"/>
          </a:xfrm>
          <a:prstGeom prst="rect">
            <a:avLst/>
          </a:prstGeom>
        </p:spPr>
        <p:txBody>
          <a:bodyPr/>
          <a:lstStyle>
            <a:lvl1pPr algn="l">
              <a:defRPr sz="668">
                <a:solidFill>
                  <a:schemeClr val="tx1"/>
                </a:solidFill>
              </a:defRPr>
            </a:lvl1pPr>
          </a:lstStyle>
          <a:p>
            <a:pPr defTabSz="611117"/>
            <a:endParaRPr lang="en-US" dirty="0">
              <a:solidFill>
                <a:srgbClr val="1E1E1E"/>
              </a:solidFill>
            </a:endParaRPr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457201" y="205978"/>
            <a:ext cx="4038600" cy="601523"/>
          </a:xfrm>
        </p:spPr>
        <p:txBody>
          <a:bodyPr>
            <a:normAutofit/>
          </a:bodyPr>
          <a:lstStyle>
            <a:lvl1pPr>
              <a:defRPr sz="1604" b="1">
                <a:solidFill>
                  <a:srgbClr val="FC0006"/>
                </a:solidFill>
              </a:defRPr>
            </a:lvl1pPr>
          </a:lstStyle>
          <a:p>
            <a:r>
              <a:rPr lang="x-none" dirty="0"/>
              <a:t>Título</a:t>
            </a:r>
            <a:endParaRPr lang="en-US" dirty="0"/>
          </a:p>
        </p:txBody>
      </p:sp>
      <p:sp>
        <p:nvSpPr>
          <p:cNvPr id="19" name="Picture Placeholder 17"/>
          <p:cNvSpPr>
            <a:spLocks noGrp="1"/>
          </p:cNvSpPr>
          <p:nvPr>
            <p:ph type="pic" sz="quarter" idx="13" hasCustomPrompt="1"/>
          </p:nvPr>
        </p:nvSpPr>
        <p:spPr>
          <a:xfrm>
            <a:off x="4675910" y="3"/>
            <a:ext cx="4468091" cy="4568947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x-none" dirty="0"/>
              <a:t>imagem</a:t>
            </a:r>
            <a:endParaRPr lang="en-US" dirty="0"/>
          </a:p>
        </p:txBody>
      </p:sp>
      <p:sp>
        <p:nvSpPr>
          <p:cNvPr id="13" name="Content Placeholder 2"/>
          <p:cNvSpPr>
            <a:spLocks noGrp="1"/>
          </p:cNvSpPr>
          <p:nvPr>
            <p:ph sz="half" idx="10" hasCustomPrompt="1"/>
          </p:nvPr>
        </p:nvSpPr>
        <p:spPr>
          <a:xfrm>
            <a:off x="457201" y="939323"/>
            <a:ext cx="4038600" cy="3433518"/>
          </a:xfrm>
        </p:spPr>
        <p:txBody>
          <a:bodyPr>
            <a:normAutofit/>
          </a:bodyPr>
          <a:lstStyle>
            <a:lvl1pPr>
              <a:defRPr sz="1203"/>
            </a:lvl1pPr>
            <a:lvl2pPr>
              <a:defRPr sz="1604"/>
            </a:lvl2pPr>
            <a:lvl3pPr>
              <a:defRPr sz="1337"/>
            </a:lvl3pPr>
            <a:lvl4pPr>
              <a:defRPr sz="1203"/>
            </a:lvl4pPr>
            <a:lvl5pPr>
              <a:defRPr sz="1203"/>
            </a:lvl5pPr>
            <a:lvl6pPr>
              <a:defRPr sz="1203"/>
            </a:lvl6pPr>
            <a:lvl7pPr>
              <a:defRPr sz="1203"/>
            </a:lvl7pPr>
            <a:lvl8pPr>
              <a:defRPr sz="1203"/>
            </a:lvl8pPr>
            <a:lvl9pPr>
              <a:defRPr sz="1203"/>
            </a:lvl9pPr>
          </a:lstStyle>
          <a:p>
            <a:pPr lvl="0"/>
            <a:r>
              <a:rPr lang="x-none" dirty="0"/>
              <a:t>Texto, gráfico ou tabela</a:t>
            </a:r>
          </a:p>
        </p:txBody>
      </p:sp>
      <p:pic>
        <p:nvPicPr>
          <p:cNvPr id="11" name="Imagem 10"/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4966"/>
          <a:stretch/>
        </p:blipFill>
        <p:spPr>
          <a:xfrm>
            <a:off x="7766228" y="4646937"/>
            <a:ext cx="1377773" cy="3941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0378708"/>
      </p:ext>
    </p:extLst>
  </p:cSld>
  <p:clrMapOvr>
    <a:masterClrMapping/>
  </p:clrMapOvr>
  <p:transition spd="slow"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ag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550265" y="195488"/>
            <a:ext cx="339435" cy="273844"/>
          </a:xfrm>
          <a:prstGeom prst="rect">
            <a:avLst/>
          </a:prstGeom>
        </p:spPr>
        <p:txBody>
          <a:bodyPr/>
          <a:lstStyle>
            <a:lvl1pPr algn="l">
              <a:defRPr sz="668">
                <a:solidFill>
                  <a:schemeClr val="tx1"/>
                </a:solidFill>
              </a:defRPr>
            </a:lvl1pPr>
          </a:lstStyle>
          <a:p>
            <a:fld id="{08FDDC7F-4685-9F40-974F-5BFFD8258265}" type="slidenum">
              <a:rPr lang="en-US" smtClean="0">
                <a:solidFill>
                  <a:srgbClr val="1E1E1E"/>
                </a:solidFill>
              </a:rPr>
              <a:pPr/>
              <a:t>‹nº›</a:t>
            </a:fld>
            <a:endParaRPr lang="en-US" dirty="0">
              <a:solidFill>
                <a:srgbClr val="1E1E1E"/>
              </a:solidFill>
            </a:endParaRPr>
          </a:p>
        </p:txBody>
      </p:sp>
      <p:grpSp>
        <p:nvGrpSpPr>
          <p:cNvPr id="8" name="Group 6"/>
          <p:cNvGrpSpPr>
            <a:grpSpLocks/>
          </p:cNvGrpSpPr>
          <p:nvPr userDrawn="1"/>
        </p:nvGrpSpPr>
        <p:grpSpPr bwMode="auto">
          <a:xfrm rot="10800000">
            <a:off x="0" y="4525569"/>
            <a:ext cx="9144000" cy="67865"/>
            <a:chOff x="-111760" y="6079065"/>
            <a:chExt cx="9144000" cy="91442"/>
          </a:xfrm>
        </p:grpSpPr>
        <p:pic>
          <p:nvPicPr>
            <p:cNvPr id="9" name="Picture 7" descr="PATTERN_04_LINHA.png"/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-2" r="1782" b="-127019"/>
            <a:stretch>
              <a:fillRect/>
            </a:stretch>
          </p:blipFill>
          <p:spPr bwMode="auto">
            <a:xfrm>
              <a:off x="2872754" y="6079065"/>
              <a:ext cx="6159486" cy="817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0" name="Picture 8" descr="PATTERN_04_LINHA.png"/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47662" t="6" r="5115" b="-154025"/>
            <a:stretch>
              <a:fillRect/>
            </a:stretch>
          </p:blipFill>
          <p:spPr bwMode="auto">
            <a:xfrm>
              <a:off x="-111760" y="6079065"/>
              <a:ext cx="2961588" cy="914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2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92731" y="4767265"/>
            <a:ext cx="2895600" cy="273844"/>
          </a:xfrm>
          <a:prstGeom prst="rect">
            <a:avLst/>
          </a:prstGeom>
        </p:spPr>
        <p:txBody>
          <a:bodyPr/>
          <a:lstStyle>
            <a:lvl1pPr algn="l">
              <a:defRPr sz="668">
                <a:solidFill>
                  <a:schemeClr val="tx1"/>
                </a:solidFill>
              </a:defRPr>
            </a:lvl1pPr>
          </a:lstStyle>
          <a:p>
            <a:pPr defTabSz="611117"/>
            <a:endParaRPr lang="en-US" dirty="0">
              <a:solidFill>
                <a:srgbClr val="1E1E1E"/>
              </a:solidFill>
            </a:endParaRPr>
          </a:p>
        </p:txBody>
      </p:sp>
      <p:sp>
        <p:nvSpPr>
          <p:cNvPr id="18" name="Picture Placeholder 17"/>
          <p:cNvSpPr>
            <a:spLocks noGrp="1"/>
          </p:cNvSpPr>
          <p:nvPr>
            <p:ph type="pic" sz="quarter" idx="13" hasCustomPrompt="1"/>
          </p:nvPr>
        </p:nvSpPr>
        <p:spPr>
          <a:xfrm>
            <a:off x="5726" y="-20689"/>
            <a:ext cx="9144000" cy="4568947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x-none" dirty="0"/>
              <a:t>imagem</a:t>
            </a:r>
            <a:endParaRPr lang="en-US" dirty="0"/>
          </a:p>
        </p:txBody>
      </p:sp>
      <p:pic>
        <p:nvPicPr>
          <p:cNvPr id="11" name="Imagem 10"/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4966"/>
          <a:stretch/>
        </p:blipFill>
        <p:spPr>
          <a:xfrm>
            <a:off x="7766228" y="4646937"/>
            <a:ext cx="1377773" cy="3941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5858093"/>
      </p:ext>
    </p:extLst>
  </p:cSld>
  <p:clrMapOvr>
    <a:masterClrMapping/>
  </p:clrMapOvr>
  <p:transition spd="slow"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8678596" y="87476"/>
            <a:ext cx="339435" cy="273844"/>
          </a:xfrm>
        </p:spPr>
        <p:txBody>
          <a:bodyPr/>
          <a:lstStyle/>
          <a:p>
            <a:fld id="{08FDDC7F-4685-9F40-974F-5BFFD8258265}" type="slidenum">
              <a:rPr lang="en-US" smtClean="0">
                <a:solidFill>
                  <a:srgbClr val="1E1E1E"/>
                </a:solidFill>
              </a:rPr>
              <a:pPr/>
              <a:t>‹nº›</a:t>
            </a:fld>
            <a:endParaRPr lang="en-US" dirty="0">
              <a:solidFill>
                <a:srgbClr val="1E1E1E"/>
              </a:solidFill>
            </a:endParaRPr>
          </a:p>
        </p:txBody>
      </p:sp>
      <p:sp>
        <p:nvSpPr>
          <p:cNvPr id="3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692731" y="4767265"/>
            <a:ext cx="2895600" cy="273844"/>
          </a:xfrm>
          <a:prstGeom prst="rect">
            <a:avLst/>
          </a:prstGeom>
        </p:spPr>
        <p:txBody>
          <a:bodyPr/>
          <a:lstStyle/>
          <a:p>
            <a:pPr defTabSz="611117"/>
            <a:endParaRPr lang="en-US" dirty="0">
              <a:solidFill>
                <a:srgbClr val="1E1E1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0861155"/>
      </p:ext>
    </p:extLst>
  </p:cSld>
  <p:clrMapOvr>
    <a:masterClrMapping/>
  </p:clrMapOvr>
  <p:transition spd="slow"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57201" y="4767265"/>
            <a:ext cx="339435" cy="273844"/>
          </a:xfrm>
          <a:prstGeom prst="rect">
            <a:avLst/>
          </a:prstGeom>
        </p:spPr>
        <p:txBody>
          <a:bodyPr/>
          <a:lstStyle>
            <a:lvl1pPr algn="l">
              <a:defRPr sz="668">
                <a:solidFill>
                  <a:schemeClr val="tx1"/>
                </a:solidFill>
              </a:defRPr>
            </a:lvl1pPr>
          </a:lstStyle>
          <a:p>
            <a:fld id="{08FDDC7F-4685-9F40-974F-5BFFD8258265}" type="slidenum">
              <a:rPr lang="en-US" smtClean="0">
                <a:solidFill>
                  <a:srgbClr val="1E1E1E"/>
                </a:solidFill>
              </a:rPr>
              <a:pPr/>
              <a:t>‹nº›</a:t>
            </a:fld>
            <a:endParaRPr lang="en-US" dirty="0">
              <a:solidFill>
                <a:srgbClr val="1E1E1E"/>
              </a:solidFill>
            </a:endParaRPr>
          </a:p>
        </p:txBody>
      </p:sp>
      <p:grpSp>
        <p:nvGrpSpPr>
          <p:cNvPr id="7" name="Group 6"/>
          <p:cNvGrpSpPr>
            <a:grpSpLocks/>
          </p:cNvGrpSpPr>
          <p:nvPr userDrawn="1"/>
        </p:nvGrpSpPr>
        <p:grpSpPr bwMode="auto">
          <a:xfrm rot="10800000">
            <a:off x="0" y="4525569"/>
            <a:ext cx="9144000" cy="67865"/>
            <a:chOff x="-111760" y="6079065"/>
            <a:chExt cx="9144000" cy="91442"/>
          </a:xfrm>
        </p:grpSpPr>
        <p:pic>
          <p:nvPicPr>
            <p:cNvPr id="8" name="Picture 7" descr="PATTERN_04_LINHA.png"/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-2" r="1782" b="-127019"/>
            <a:stretch>
              <a:fillRect/>
            </a:stretch>
          </p:blipFill>
          <p:spPr bwMode="auto">
            <a:xfrm>
              <a:off x="2872754" y="6079065"/>
              <a:ext cx="6159486" cy="817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9" name="Picture 8" descr="PATTERN_04_LINHA.png"/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47662" t="6" r="5115" b="-154025"/>
            <a:stretch>
              <a:fillRect/>
            </a:stretch>
          </p:blipFill>
          <p:spPr bwMode="auto">
            <a:xfrm>
              <a:off x="-111760" y="6079065"/>
              <a:ext cx="2961588" cy="914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0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92731" y="4767265"/>
            <a:ext cx="2895600" cy="273844"/>
          </a:xfrm>
          <a:prstGeom prst="rect">
            <a:avLst/>
          </a:prstGeom>
        </p:spPr>
        <p:txBody>
          <a:bodyPr/>
          <a:lstStyle>
            <a:lvl1pPr algn="l">
              <a:defRPr sz="668">
                <a:solidFill>
                  <a:schemeClr val="tx1"/>
                </a:solidFill>
              </a:defRPr>
            </a:lvl1pPr>
          </a:lstStyle>
          <a:p>
            <a:pPr defTabSz="611117"/>
            <a:endParaRPr lang="en-US" dirty="0">
              <a:solidFill>
                <a:srgbClr val="1E1E1E"/>
              </a:solidFill>
            </a:endParaRPr>
          </a:p>
        </p:txBody>
      </p:sp>
      <p:pic>
        <p:nvPicPr>
          <p:cNvPr id="11" name="Imagem 10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883" y="4632619"/>
            <a:ext cx="1492605" cy="467888"/>
          </a:xfrm>
          <a:prstGeom prst="rect">
            <a:avLst/>
          </a:prstGeom>
        </p:spPr>
      </p:pic>
      <p:pic>
        <p:nvPicPr>
          <p:cNvPr id="12" name="Imagem 11"/>
          <p:cNvPicPr>
            <a:picLocks noChangeAspect="1"/>
          </p:cNvPicPr>
          <p:nvPr userDrawn="1"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4966"/>
          <a:stretch/>
        </p:blipFill>
        <p:spPr>
          <a:xfrm>
            <a:off x="7766228" y="4646937"/>
            <a:ext cx="1377773" cy="394170"/>
          </a:xfrm>
          <a:prstGeom prst="rect">
            <a:avLst/>
          </a:prstGeom>
        </p:spPr>
      </p:pic>
      <p:sp>
        <p:nvSpPr>
          <p:cNvPr id="13" name="Slide Number Placeholder 2"/>
          <p:cNvSpPr txBox="1">
            <a:spLocks/>
          </p:cNvSpPr>
          <p:nvPr userDrawn="1"/>
        </p:nvSpPr>
        <p:spPr>
          <a:xfrm>
            <a:off x="8678596" y="87476"/>
            <a:ext cx="339435" cy="273844"/>
          </a:xfrm>
          <a:prstGeom prst="rect">
            <a:avLst/>
          </a:prstGeom>
        </p:spPr>
        <p:txBody>
          <a:bodyPr/>
          <a:lstStyle>
            <a:defPPr>
              <a:defRPr lang="pt-BR"/>
            </a:defPPr>
            <a:lvl1pPr marL="0" algn="l" defTabSz="914400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8FDDC7F-4685-9F40-974F-5BFFD8258265}" type="slidenum">
              <a:rPr lang="en-US" sz="668" smtClean="0">
                <a:solidFill>
                  <a:srgbClr val="1E1E1E"/>
                </a:solidFill>
              </a:rPr>
              <a:pPr/>
              <a:t>‹nº›</a:t>
            </a:fld>
            <a:endParaRPr lang="en-US" sz="668" dirty="0">
              <a:solidFill>
                <a:srgbClr val="1E1E1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55602334"/>
      </p:ext>
    </p:extLst>
  </p:cSld>
  <p:clrMapOvr>
    <a:masterClrMapping/>
  </p:clrMapOvr>
  <p:transition spd="slow"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radecimen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4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69782" r="1" b="63586"/>
          <a:stretch/>
        </p:blipFill>
        <p:spPr bwMode="auto">
          <a:xfrm>
            <a:off x="8466669" y="363144"/>
            <a:ext cx="169333" cy="1829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4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9351" r="26064"/>
          <a:stretch/>
        </p:blipFill>
        <p:spPr bwMode="auto">
          <a:xfrm>
            <a:off x="8023227" y="363144"/>
            <a:ext cx="466724" cy="502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1" y="3780065"/>
            <a:ext cx="3248891" cy="233363"/>
          </a:xfrm>
        </p:spPr>
        <p:txBody>
          <a:bodyPr anchor="ctr">
            <a:noAutofit/>
          </a:bodyPr>
          <a:lstStyle>
            <a:lvl1pPr marL="0" indent="0">
              <a:buNone/>
              <a:defRPr sz="1203">
                <a:solidFill>
                  <a:schemeClr val="tx2"/>
                </a:solidFill>
              </a:defRPr>
            </a:lvl1pPr>
            <a:lvl2pPr>
              <a:defRPr sz="1203"/>
            </a:lvl2pPr>
            <a:lvl3pPr>
              <a:defRPr sz="1203"/>
            </a:lvl3pPr>
            <a:lvl4pPr>
              <a:defRPr sz="1203"/>
            </a:lvl4pPr>
            <a:lvl5pPr>
              <a:defRPr sz="1203"/>
            </a:lvl5pPr>
          </a:lstStyle>
          <a:p>
            <a:pPr lvl="0"/>
            <a:r>
              <a:rPr lang="x-none" dirty="0"/>
              <a:t>Local | Data</a:t>
            </a:r>
          </a:p>
        </p:txBody>
      </p:sp>
      <p:pic>
        <p:nvPicPr>
          <p:cNvPr id="16" name="Picture 3" descr="PATTERN_03_POS.png"/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31706" b="22594"/>
          <a:stretch/>
        </p:blipFill>
        <p:spPr bwMode="auto">
          <a:xfrm>
            <a:off x="3833815" y="2912269"/>
            <a:ext cx="5310187" cy="11011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Slide Number Placeholder 2"/>
          <p:cNvSpPr>
            <a:spLocks noGrp="1"/>
          </p:cNvSpPr>
          <p:nvPr>
            <p:ph type="sldNum" sz="quarter" idx="11"/>
          </p:nvPr>
        </p:nvSpPr>
        <p:spPr>
          <a:xfrm>
            <a:off x="8678596" y="87476"/>
            <a:ext cx="339435" cy="273844"/>
          </a:xfrm>
        </p:spPr>
        <p:txBody>
          <a:bodyPr/>
          <a:lstStyle/>
          <a:p>
            <a:fld id="{08FDDC7F-4685-9F40-974F-5BFFD8258265}" type="slidenum">
              <a:rPr lang="en-US" smtClean="0">
                <a:solidFill>
                  <a:srgbClr val="1E1E1E"/>
                </a:solidFill>
              </a:rPr>
              <a:pPr/>
              <a:t>‹nº›</a:t>
            </a:fld>
            <a:endParaRPr lang="en-US" dirty="0">
              <a:solidFill>
                <a:srgbClr val="1E1E1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01291454"/>
      </p:ext>
    </p:extLst>
  </p:cSld>
  <p:clrMapOvr>
    <a:masterClrMapping/>
  </p:clrMapOvr>
  <p:transition spd="slow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5" presetClass="emph" presetSubtype="0" repeatCount="indefinite" fill="remove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discrete" valueType="str">
                                      <p:cBhvr>
                                        <p:cTn id="6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hidden"/>
                                          </p:val>
                                        </p:tav>
                                        <p:tav tm="50000">
                                          <p:val>
                                            <p:strVal val="visible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06441" y="485811"/>
            <a:ext cx="8197850" cy="269081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pt-BR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8651" y="1007269"/>
            <a:ext cx="7969250" cy="324921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t-BR"/>
          </a:p>
        </p:txBody>
      </p:sp>
      <p:sp>
        <p:nvSpPr>
          <p:cNvPr id="4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8678596" y="87476"/>
            <a:ext cx="339435" cy="273844"/>
          </a:xfrm>
        </p:spPr>
        <p:txBody>
          <a:bodyPr/>
          <a:lstStyle/>
          <a:p>
            <a:fld id="{08FDDC7F-4685-9F40-974F-5BFFD8258265}" type="slidenum">
              <a:rPr lang="en-US" smtClean="0">
                <a:solidFill>
                  <a:srgbClr val="1E1E1E"/>
                </a:solidFill>
              </a:rPr>
              <a:pPr/>
              <a:t>‹nº›</a:t>
            </a:fld>
            <a:endParaRPr lang="en-US" dirty="0">
              <a:solidFill>
                <a:srgbClr val="1E1E1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98763640"/>
      </p:ext>
    </p:extLst>
  </p:cSld>
  <p:clrMapOvr>
    <a:masterClrMapping/>
  </p:clrMapOvr>
  <p:transition/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3" descr="LOGO_VERMELHO_PREF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77138" y="4756547"/>
            <a:ext cx="1047750" cy="2083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4" name="Group 4"/>
          <p:cNvGrpSpPr>
            <a:grpSpLocks/>
          </p:cNvGrpSpPr>
          <p:nvPr userDrawn="1"/>
        </p:nvGrpSpPr>
        <p:grpSpPr bwMode="auto">
          <a:xfrm rot="10800000">
            <a:off x="0" y="4525567"/>
            <a:ext cx="9144000" cy="67865"/>
            <a:chOff x="-111760" y="6079065"/>
            <a:chExt cx="9144000" cy="91442"/>
          </a:xfrm>
        </p:grpSpPr>
        <p:pic>
          <p:nvPicPr>
            <p:cNvPr id="5" name="Picture 5" descr="PATTERN_04_LINHA.png"/>
            <p:cNvPicPr>
              <a:picLocks noChangeAspect="1"/>
            </p:cNvPicPr>
            <p:nvPr userDrawn="1"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-2" r="1782" b="-127019"/>
            <a:stretch>
              <a:fillRect/>
            </a:stretch>
          </p:blipFill>
          <p:spPr bwMode="auto">
            <a:xfrm>
              <a:off x="2872754" y="6079065"/>
              <a:ext cx="6159486" cy="817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6" name="Picture 6" descr="PATTERN_04_LINHA.png"/>
            <p:cNvPicPr>
              <a:picLocks noChangeAspect="1"/>
            </p:cNvPicPr>
            <p:nvPr userDrawn="1"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7662" t="6" r="5115" b="-154025"/>
            <a:stretch>
              <a:fillRect/>
            </a:stretch>
          </p:blipFill>
          <p:spPr bwMode="auto">
            <a:xfrm>
              <a:off x="-111760" y="6079065"/>
              <a:ext cx="2961588" cy="914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" name="CaixaDeTexto 1"/>
          <p:cNvSpPr txBox="1"/>
          <p:nvPr userDrawn="1"/>
        </p:nvSpPr>
        <p:spPr>
          <a:xfrm>
            <a:off x="7649559" y="4934199"/>
            <a:ext cx="668773" cy="1500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342900"/>
            <a:r>
              <a:rPr lang="pt-BR" sz="375" dirty="0">
                <a:solidFill>
                  <a:srgbClr val="1E1E1E"/>
                </a:solidFill>
              </a:rPr>
              <a:t>Uma empresa Santander</a:t>
            </a:r>
          </a:p>
        </p:txBody>
      </p:sp>
      <p:sp>
        <p:nvSpPr>
          <p:cNvPr id="8" name="Espaço Reservado para Número de Slide 7"/>
          <p:cNvSpPr>
            <a:spLocks noGrp="1"/>
          </p:cNvSpPr>
          <p:nvPr>
            <p:ph type="sldNum" sz="quarter" idx="12"/>
          </p:nvPr>
        </p:nvSpPr>
        <p:spPr>
          <a:xfrm>
            <a:off x="1" y="4856794"/>
            <a:ext cx="339435" cy="273844"/>
          </a:xfrm>
        </p:spPr>
        <p:txBody>
          <a:bodyPr anchor="ctr"/>
          <a:lstStyle>
            <a:lvl1pPr algn="ctr">
              <a:defRPr sz="788"/>
            </a:lvl1pPr>
          </a:lstStyle>
          <a:p>
            <a:fld id="{08FDDC7F-4685-9F40-974F-5BFFD8258265}" type="slidenum">
              <a:rPr lang="en-US" smtClean="0">
                <a:solidFill>
                  <a:srgbClr val="1E1E1E"/>
                </a:solidFill>
              </a:rPr>
              <a:pPr/>
              <a:t>‹nº›</a:t>
            </a:fld>
            <a:endParaRPr lang="en-US" dirty="0">
              <a:solidFill>
                <a:srgbClr val="1E1E1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56728084"/>
      </p:ext>
    </p:extLst>
  </p:cSld>
  <p:clrMapOvr>
    <a:masterClrMapping/>
  </p:clrMapOvr>
  <p:transition spd="med">
    <p:fade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apa">
    <p:bg>
      <p:bgPr>
        <a:solidFill>
          <a:srgbClr val="FCFCF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o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60" name="Slide do think-cell" r:id="rId4" imgW="421" imgH="423" progId="TCLayout.ActiveDocument.1">
                  <p:embed/>
                </p:oleObj>
              </mc:Choice>
              <mc:Fallback>
                <p:oleObj name="Slide do think-cell" r:id="rId4" imgW="421" imgH="423" progId="TCLayout.ActiveDocument.1">
                  <p:embed/>
                  <p:pic>
                    <p:nvPicPr>
                      <p:cNvPr id="5" name="Objeto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Imagem 3"/>
          <p:cNvPicPr>
            <a:picLocks noChangeAspect="1"/>
          </p:cNvPicPr>
          <p:nvPr userDrawn="1"/>
        </p:nvPicPr>
        <p:blipFill rotWithShape="1">
          <a:blip r:embed="rId6"/>
          <a:srcRect t="14910" b="1"/>
          <a:stretch/>
        </p:blipFill>
        <p:spPr>
          <a:xfrm>
            <a:off x="-1588" y="1"/>
            <a:ext cx="9144000" cy="5143500"/>
          </a:xfrm>
          <a:prstGeom prst="rect">
            <a:avLst/>
          </a:prstGeom>
          <a:effectLst>
            <a:glow>
              <a:schemeClr val="accent1">
                <a:alpha val="40000"/>
              </a:schemeClr>
            </a:glow>
          </a:effectLst>
        </p:spPr>
      </p:pic>
      <p:sp>
        <p:nvSpPr>
          <p:cNvPr id="16" name="Retângulo 15"/>
          <p:cNvSpPr/>
          <p:nvPr userDrawn="1"/>
        </p:nvSpPr>
        <p:spPr>
          <a:xfrm>
            <a:off x="-32586" y="2423091"/>
            <a:ext cx="9176586" cy="307777"/>
          </a:xfrm>
          <a:prstGeom prst="rect">
            <a:avLst/>
          </a:prstGeom>
          <a:solidFill>
            <a:srgbClr val="2B2D42">
              <a:alpha val="60000"/>
            </a:srgbClr>
          </a:solidFill>
        </p:spPr>
        <p:txBody>
          <a:bodyPr wrap="square" rtlCol="0" anchor="ctr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pt-BR" sz="1400" dirty="0">
              <a:solidFill>
                <a:prstClr val="black"/>
              </a:solidFill>
            </a:endParaRPr>
          </a:p>
        </p:txBody>
      </p:sp>
      <p:grpSp>
        <p:nvGrpSpPr>
          <p:cNvPr id="19" name="Grupo 18"/>
          <p:cNvGrpSpPr/>
          <p:nvPr userDrawn="1"/>
        </p:nvGrpSpPr>
        <p:grpSpPr>
          <a:xfrm>
            <a:off x="634926" y="563421"/>
            <a:ext cx="3571876" cy="2964640"/>
            <a:chOff x="634925" y="563420"/>
            <a:chExt cx="3571876" cy="2964640"/>
          </a:xfrm>
          <a:solidFill>
            <a:srgbClr val="EC0000"/>
          </a:solidFill>
        </p:grpSpPr>
        <p:sp>
          <p:nvSpPr>
            <p:cNvPr id="9" name="Retângulo 8"/>
            <p:cNvSpPr/>
            <p:nvPr userDrawn="1"/>
          </p:nvSpPr>
          <p:spPr>
            <a:xfrm>
              <a:off x="634925" y="563420"/>
              <a:ext cx="3571875" cy="2964640"/>
            </a:xfrm>
            <a:prstGeom prst="rect">
              <a:avLst/>
            </a:prstGeom>
            <a:grpFill/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1800">
                <a:solidFill>
                  <a:prstClr val="white"/>
                </a:solidFill>
              </a:endParaRPr>
            </a:p>
          </p:txBody>
        </p:sp>
        <p:sp>
          <p:nvSpPr>
            <p:cNvPr id="10" name="Triângulo retângulo 9"/>
            <p:cNvSpPr/>
            <p:nvPr userDrawn="1"/>
          </p:nvSpPr>
          <p:spPr>
            <a:xfrm rot="10800000" flipH="1">
              <a:off x="878527" y="3138101"/>
              <a:ext cx="3328274" cy="264335"/>
            </a:xfrm>
            <a:prstGeom prst="rtTriangle">
              <a:avLst/>
            </a:prstGeom>
            <a:grpFill/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1800">
                <a:solidFill>
                  <a:prstClr val="white"/>
                </a:solidFill>
              </a:endParaRPr>
            </a:p>
          </p:txBody>
        </p:sp>
      </p:grpSp>
      <p:cxnSp>
        <p:nvCxnSpPr>
          <p:cNvPr id="12" name="Straight Connector 11"/>
          <p:cNvCxnSpPr/>
          <p:nvPr userDrawn="1"/>
        </p:nvCxnSpPr>
        <p:spPr>
          <a:xfrm>
            <a:off x="931336" y="2159000"/>
            <a:ext cx="359996" cy="0"/>
          </a:xfrm>
          <a:prstGeom prst="line">
            <a:avLst/>
          </a:prstGeom>
          <a:ln w="6350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0" name="Text Placeholder 28"/>
          <p:cNvSpPr>
            <a:spLocks noGrp="1"/>
          </p:cNvSpPr>
          <p:nvPr>
            <p:ph type="body" sz="quarter" idx="10" hasCustomPrompt="1"/>
          </p:nvPr>
        </p:nvSpPr>
        <p:spPr>
          <a:xfrm>
            <a:off x="799638" y="713553"/>
            <a:ext cx="3247428" cy="1345966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2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BR" dirty="0"/>
              <a:t>Título da apresentação</a:t>
            </a:r>
            <a:r>
              <a:rPr lang="x-none" dirty="0"/>
              <a:t>– 24pt</a:t>
            </a:r>
            <a:endParaRPr lang="en-US" dirty="0"/>
          </a:p>
        </p:txBody>
      </p:sp>
      <p:sp>
        <p:nvSpPr>
          <p:cNvPr id="39" name="Text Placeholder 28"/>
          <p:cNvSpPr>
            <a:spLocks noGrp="1"/>
          </p:cNvSpPr>
          <p:nvPr>
            <p:ph type="body" sz="quarter" idx="14" hasCustomPrompt="1"/>
          </p:nvPr>
        </p:nvSpPr>
        <p:spPr>
          <a:xfrm>
            <a:off x="827861" y="2308535"/>
            <a:ext cx="3219207" cy="662271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1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BR" dirty="0"/>
              <a:t>Escreva aqui a descrição - ou informação da apresentação</a:t>
            </a:r>
            <a:r>
              <a:rPr lang="x-none" dirty="0"/>
              <a:t>– 11pt italic</a:t>
            </a:r>
            <a:endParaRPr lang="en-US" dirty="0"/>
          </a:p>
        </p:txBody>
      </p:sp>
      <p:sp>
        <p:nvSpPr>
          <p:cNvPr id="41" name="Text Placeholder 28"/>
          <p:cNvSpPr>
            <a:spLocks noGrp="1"/>
          </p:cNvSpPr>
          <p:nvPr>
            <p:ph type="body" sz="quarter" idx="15" hasCustomPrompt="1"/>
          </p:nvPr>
        </p:nvSpPr>
        <p:spPr>
          <a:xfrm>
            <a:off x="827861" y="2970805"/>
            <a:ext cx="2522971" cy="278448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000" b="1" i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BR" dirty="0"/>
              <a:t>Nome do responsável </a:t>
            </a:r>
            <a:r>
              <a:rPr lang="x-none" dirty="0"/>
              <a:t>– 10pt </a:t>
            </a:r>
            <a:r>
              <a:rPr lang="pt-BR" dirty="0"/>
              <a:t>Negrito</a:t>
            </a:r>
            <a:endParaRPr lang="en-US" dirty="0"/>
          </a:p>
        </p:txBody>
      </p:sp>
      <p:sp>
        <p:nvSpPr>
          <p:cNvPr id="43" name="Text Placeholder 28"/>
          <p:cNvSpPr>
            <a:spLocks noGrp="1"/>
          </p:cNvSpPr>
          <p:nvPr>
            <p:ph type="body" sz="quarter" idx="16" hasCustomPrompt="1"/>
          </p:nvPr>
        </p:nvSpPr>
        <p:spPr>
          <a:xfrm>
            <a:off x="827860" y="3149771"/>
            <a:ext cx="2182511" cy="26512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900" b="0" i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BR" dirty="0"/>
              <a:t>Departamento</a:t>
            </a:r>
            <a:r>
              <a:rPr lang="x-none" dirty="0"/>
              <a:t>/Area – 9pt</a:t>
            </a:r>
            <a:endParaRPr lang="en-US" dirty="0"/>
          </a:p>
        </p:txBody>
      </p:sp>
      <p:sp>
        <p:nvSpPr>
          <p:cNvPr id="11" name="Text Placeholder 28"/>
          <p:cNvSpPr>
            <a:spLocks noGrp="1"/>
          </p:cNvSpPr>
          <p:nvPr>
            <p:ph type="body" sz="quarter" idx="17" hasCustomPrompt="1"/>
          </p:nvPr>
        </p:nvSpPr>
        <p:spPr>
          <a:xfrm>
            <a:off x="3010372" y="3160370"/>
            <a:ext cx="1036695" cy="203217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900" b="0" i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BR" dirty="0" err="1"/>
              <a:t>dd</a:t>
            </a:r>
            <a:r>
              <a:rPr lang="x-none" dirty="0"/>
              <a:t>/</a:t>
            </a:r>
            <a:r>
              <a:rPr lang="pt-BR" dirty="0"/>
              <a:t>mm</a:t>
            </a:r>
            <a:r>
              <a:rPr lang="x-none" dirty="0"/>
              <a:t>/</a:t>
            </a:r>
            <a:r>
              <a:rPr lang="pt-BR" dirty="0"/>
              <a:t>aa</a:t>
            </a:r>
            <a:r>
              <a:rPr lang="x-none" dirty="0"/>
              <a:t> </a:t>
            </a:r>
            <a:br>
              <a:rPr lang="x-none" dirty="0"/>
            </a:br>
            <a:r>
              <a:rPr lang="x-none" dirty="0"/>
              <a:t>- 9pt</a:t>
            </a:r>
            <a:endParaRPr lang="en-US" dirty="0"/>
          </a:p>
        </p:txBody>
      </p:sp>
      <p:pic>
        <p:nvPicPr>
          <p:cNvPr id="6" name="Imagem 5"/>
          <p:cNvPicPr>
            <a:picLocks noChangeAspect="1"/>
          </p:cNvPicPr>
          <p:nvPr userDrawn="1"/>
        </p:nvPicPr>
        <p:blipFill>
          <a:blip r:embed="rId7">
            <a:clrChange>
              <a:clrFrom>
                <a:srgbClr val="231F20"/>
              </a:clrFrom>
              <a:clrTo>
                <a:srgbClr val="231F20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6891867" y="381451"/>
            <a:ext cx="1787676" cy="7173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18170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 advTm="3000"/>
    </mc:Choice>
    <mc:Fallback xmlns="">
      <p:transition advClick="0" advTm="3000"/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e Conteúd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584203" y="575841"/>
            <a:ext cx="7953374" cy="383260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200" b="0" cap="all" spc="50" baseline="0">
                <a:solidFill>
                  <a:schemeClr val="accent1"/>
                </a:solidFill>
                <a:latin typeface="Lato Black" panose="020F0A02020204030203" pitchFamily="34" charset="0"/>
                <a:ea typeface="Roboto" panose="02000000000000000000" pitchFamily="2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 dirty="0"/>
              <a:t>CLIQUE PARA EDITAR O TÍTULO</a:t>
            </a:r>
          </a:p>
        </p:txBody>
      </p:sp>
      <p:sp>
        <p:nvSpPr>
          <p:cNvPr id="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593725" y="959101"/>
            <a:ext cx="7953374" cy="141344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ts val="1200"/>
              </a:lnSpc>
              <a:spcBef>
                <a:spcPts val="0"/>
              </a:spcBef>
              <a:buNone/>
              <a:defRPr sz="900" b="0" cap="none" spc="0" baseline="0">
                <a:solidFill>
                  <a:schemeClr val="accent4"/>
                </a:solidFill>
                <a:latin typeface="Lato" panose="020F0502020204030203" pitchFamily="34" charset="0"/>
                <a:ea typeface="Roboto" panose="02000000000000000000" pitchFamily="2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 dirty="0"/>
              <a:t>Clique para </a:t>
            </a:r>
            <a:r>
              <a:rPr lang="en-US" dirty="0" err="1"/>
              <a:t>editar</a:t>
            </a:r>
            <a:r>
              <a:rPr lang="en-US" dirty="0"/>
              <a:t> o </a:t>
            </a:r>
            <a:r>
              <a:rPr lang="en-US" dirty="0" err="1"/>
              <a:t>subtítulo</a:t>
            </a:r>
            <a:r>
              <a:rPr lang="en-US" dirty="0"/>
              <a:t> </a:t>
            </a: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593725" y="492067"/>
            <a:ext cx="914400" cy="0"/>
          </a:xfrm>
          <a:prstGeom prst="line">
            <a:avLst/>
          </a:prstGeom>
          <a:ln w="28575">
            <a:solidFill>
              <a:srgbClr val="EC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256119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extLst>
    <p:ext uri="{DCECCB84-F9BA-43D5-87BE-67443E8EF086}">
      <p15:sldGuideLst xmlns:p15="http://schemas.microsoft.com/office/powerpoint/2012/main">
        <p15:guide id="1" orient="horz" pos="2700">
          <p15:clr>
            <a:srgbClr val="FBAE40"/>
          </p15:clr>
        </p15:guide>
        <p15:guide id="2" pos="5384">
          <p15:clr>
            <a:srgbClr val="FBAE40"/>
          </p15:clr>
        </p15:guide>
        <p15:guide id="3" pos="374">
          <p15:clr>
            <a:srgbClr val="FBAE40"/>
          </p15:clr>
        </p15:guide>
        <p15:guide id="4" orient="horz" pos="306">
          <p15:clr>
            <a:srgbClr val="FBAE40"/>
          </p15:clr>
        </p15:guide>
        <p15:guide id="5" orient="horz" pos="972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Vermelho Austrá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EC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Imagem 3">
            <a:extLst>
              <a:ext uri="{FF2B5EF4-FFF2-40B4-BE49-F238E27FC236}">
                <a16:creationId xmlns:a16="http://schemas.microsoft.com/office/drawing/2014/main" id="{3AA1E296-34FE-4ADD-9B0B-EA5256C2152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7126" y="4373217"/>
            <a:ext cx="716873" cy="7702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77416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extLst>
    <p:ext uri="{DCECCB84-F9BA-43D5-87BE-67443E8EF086}">
      <p15:sldGuideLst xmlns:p15="http://schemas.microsoft.com/office/powerpoint/2012/main">
        <p15:guide id="1" orient="horz" pos="2700">
          <p15:clr>
            <a:srgbClr val="FBAE40"/>
          </p15:clr>
        </p15:guide>
        <p15:guide id="2" pos="5384">
          <p15:clr>
            <a:srgbClr val="FBAE40"/>
          </p15:clr>
        </p15:guide>
        <p15:guide id="3" pos="374">
          <p15:clr>
            <a:srgbClr val="FBAE40"/>
          </p15:clr>
        </p15:guide>
        <p15:guide id="4" orient="horz" pos="306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 Vermelho Austrá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EC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pic>
        <p:nvPicPr>
          <p:cNvPr id="4" name="Imagem 3">
            <a:extLst>
              <a:ext uri="{FF2B5EF4-FFF2-40B4-BE49-F238E27FC236}">
                <a16:creationId xmlns:a16="http://schemas.microsoft.com/office/drawing/2014/main" id="{3AA1E296-34FE-4ADD-9B0B-EA5256C2152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7127" y="4373218"/>
            <a:ext cx="716873" cy="7702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0589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extLst>
    <p:ext uri="{DCECCB84-F9BA-43D5-87BE-67443E8EF086}">
      <p15:sldGuideLst xmlns:p15="http://schemas.microsoft.com/office/powerpoint/2012/main">
        <p15:guide id="1" orient="horz" pos="2700">
          <p15:clr>
            <a:srgbClr val="FBAE40"/>
          </p15:clr>
        </p15:guide>
        <p15:guide id="2" pos="5384">
          <p15:clr>
            <a:srgbClr val="FBAE40"/>
          </p15:clr>
        </p15:guide>
        <p15:guide id="3" pos="374">
          <p15:clr>
            <a:srgbClr val="FBAE40"/>
          </p15:clr>
        </p15:guide>
        <p15:guide id="4" orient="horz" pos="30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>
            <a:extLst>
              <a:ext uri="{FF2B5EF4-FFF2-40B4-BE49-F238E27FC236}">
                <a16:creationId xmlns:a16="http://schemas.microsoft.com/office/drawing/2014/main" id="{AA1C1254-E419-47C2-A5E4-64A19F0020B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/>
          <a:lstStyle/>
          <a:p>
            <a:fld id="{30D6458B-4315-4898-B6A7-09ED13E56D4E}" type="datetimeFigureOut">
              <a:rPr lang="pt-BR" smtClean="0"/>
              <a:t>14/05/2020</a:t>
            </a:fld>
            <a:endParaRPr lang="pt-BR" dirty="0"/>
          </a:p>
        </p:txBody>
      </p:sp>
      <p:sp>
        <p:nvSpPr>
          <p:cNvPr id="3" name="Espaço Reservado para Rodapé 2">
            <a:extLst>
              <a:ext uri="{FF2B5EF4-FFF2-40B4-BE49-F238E27FC236}">
                <a16:creationId xmlns:a16="http://schemas.microsoft.com/office/drawing/2014/main" id="{F8FB18F6-A0A0-4B19-B778-E77227D96E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6CE49929-80EA-435B-A09A-07253766D34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</p:spPr>
        <p:txBody>
          <a:bodyPr/>
          <a:lstStyle/>
          <a:p>
            <a:fld id="{BB87051A-1446-4629-AA93-21123191607F}" type="slidenum">
              <a:rPr lang="pt-BR" smtClean="0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914173686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E3A6AFE-2157-44CE-B2F7-F6257C9A18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273844"/>
            <a:ext cx="7886700" cy="994172"/>
          </a:xfrm>
          <a:prstGeom prst="rect">
            <a:avLst/>
          </a:prstGeo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ED3123D1-9DE7-4DE4-934E-994B06C4675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8650" y="1369219"/>
            <a:ext cx="7886700" cy="32635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9A390298-D69C-41BC-B585-19DFB5ED7D7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/>
          <a:lstStyle/>
          <a:p>
            <a:fld id="{30D6458B-4315-4898-B6A7-09ED13E56D4E}" type="datetimeFigureOut">
              <a:rPr lang="pt-BR" smtClean="0"/>
              <a:t>14/05/2020</a:t>
            </a:fld>
            <a:endParaRPr lang="pt-BR" dirty="0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72ED430A-0889-4C01-A79B-87E6B275F6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/>
          <a:lstStyle/>
          <a:p>
            <a:endParaRPr lang="pt-BR" dirty="0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5D6E831C-01E1-41AA-8CCF-57A27AF785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</p:spPr>
        <p:txBody>
          <a:bodyPr/>
          <a:lstStyle/>
          <a:p>
            <a:fld id="{BB87051A-1446-4629-AA93-21123191607F}" type="slidenum">
              <a:rPr lang="pt-BR" smtClean="0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352259270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Título e Conteúd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584203" y="575841"/>
            <a:ext cx="7953374" cy="383260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200" b="0" cap="all" spc="50" baseline="0">
                <a:solidFill>
                  <a:schemeClr val="accent1"/>
                </a:solidFill>
                <a:latin typeface="Lato Black" panose="020F0A02020204030203" pitchFamily="34" charset="0"/>
                <a:ea typeface="Roboto" panose="02000000000000000000" pitchFamily="2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 dirty="0"/>
              <a:t>CLIQUE PARA EDITAR O TÍTULO</a:t>
            </a:r>
          </a:p>
        </p:txBody>
      </p:sp>
      <p:sp>
        <p:nvSpPr>
          <p:cNvPr id="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593725" y="959101"/>
            <a:ext cx="7953374" cy="141344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ts val="1200"/>
              </a:lnSpc>
              <a:spcBef>
                <a:spcPts val="0"/>
              </a:spcBef>
              <a:buNone/>
              <a:defRPr sz="900" b="0" cap="none" spc="0" baseline="0">
                <a:solidFill>
                  <a:schemeClr val="accent4"/>
                </a:solidFill>
                <a:latin typeface="Lato" panose="020F0502020204030203" pitchFamily="34" charset="0"/>
                <a:ea typeface="Roboto" panose="02000000000000000000" pitchFamily="2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 dirty="0"/>
              <a:t>Clique para </a:t>
            </a:r>
            <a:r>
              <a:rPr lang="en-US" dirty="0" err="1"/>
              <a:t>editar</a:t>
            </a:r>
            <a:r>
              <a:rPr lang="en-US" dirty="0"/>
              <a:t> o </a:t>
            </a:r>
            <a:r>
              <a:rPr lang="en-US" dirty="0" err="1"/>
              <a:t>subtítulo</a:t>
            </a:r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6785217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lide em branc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m 6">
            <a:extLst>
              <a:ext uri="{FF2B5EF4-FFF2-40B4-BE49-F238E27FC236}">
                <a16:creationId xmlns:a16="http://schemas.microsoft.com/office/drawing/2014/main" id="{84BF2A4C-08D2-4BE4-BE4A-A78FED23A015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7128" y="4373218"/>
            <a:ext cx="716873" cy="7702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10186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extLst>
    <p:ext uri="{DCECCB84-F9BA-43D5-87BE-67443E8EF086}">
      <p15:sldGuideLst xmlns:p15="http://schemas.microsoft.com/office/powerpoint/2012/main">
        <p15:guide id="1" orient="horz" pos="2700">
          <p15:clr>
            <a:srgbClr val="FBAE40"/>
          </p15:clr>
        </p15:guide>
        <p15:guide id="2" pos="5384">
          <p15:clr>
            <a:srgbClr val="FBAE40"/>
          </p15:clr>
        </p15:guide>
        <p15:guide id="3" pos="374">
          <p15:clr>
            <a:srgbClr val="FBAE40"/>
          </p15:clr>
        </p15:guide>
        <p15:guide id="4" orient="horz" pos="306">
          <p15:clr>
            <a:srgbClr val="FBAE40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">
    <p:bg>
      <p:bgPr>
        <a:solidFill>
          <a:srgbClr val="FCFCF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o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57" name="Slide do think-cell" r:id="rId4" imgW="421" imgH="423" progId="TCLayout.ActiveDocument.1">
                  <p:embed/>
                </p:oleObj>
              </mc:Choice>
              <mc:Fallback>
                <p:oleObj name="Slide do think-cell" r:id="rId4" imgW="421" imgH="423" progId="TCLayout.ActiveDocument.1">
                  <p:embed/>
                  <p:pic>
                    <p:nvPicPr>
                      <p:cNvPr id="5" name="Objeto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Imagem 3"/>
          <p:cNvPicPr>
            <a:picLocks noChangeAspect="1"/>
          </p:cNvPicPr>
          <p:nvPr userDrawn="1"/>
        </p:nvPicPr>
        <p:blipFill rotWithShape="1">
          <a:blip r:embed="rId6"/>
          <a:srcRect t="14910" b="1"/>
          <a:stretch/>
        </p:blipFill>
        <p:spPr>
          <a:xfrm>
            <a:off x="-1588" y="1"/>
            <a:ext cx="9144000" cy="5143500"/>
          </a:xfrm>
          <a:prstGeom prst="rect">
            <a:avLst/>
          </a:prstGeom>
          <a:effectLst>
            <a:glow>
              <a:schemeClr val="accent1">
                <a:alpha val="40000"/>
              </a:schemeClr>
            </a:glow>
          </a:effectLst>
        </p:spPr>
      </p:pic>
      <p:sp>
        <p:nvSpPr>
          <p:cNvPr id="16" name="Retângulo 15"/>
          <p:cNvSpPr/>
          <p:nvPr userDrawn="1"/>
        </p:nvSpPr>
        <p:spPr>
          <a:xfrm>
            <a:off x="-32586" y="0"/>
            <a:ext cx="9176586" cy="5153960"/>
          </a:xfrm>
          <a:prstGeom prst="rect">
            <a:avLst/>
          </a:prstGeom>
          <a:solidFill>
            <a:srgbClr val="2B2D42">
              <a:alpha val="60000"/>
            </a:srgbClr>
          </a:solidFill>
        </p:spPr>
        <p:txBody>
          <a:bodyPr wrap="square" rtlCol="0" anchor="ctr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pt-BR" sz="1400" dirty="0"/>
          </a:p>
        </p:txBody>
      </p:sp>
      <p:grpSp>
        <p:nvGrpSpPr>
          <p:cNvPr id="19" name="Grupo 18"/>
          <p:cNvGrpSpPr/>
          <p:nvPr userDrawn="1"/>
        </p:nvGrpSpPr>
        <p:grpSpPr>
          <a:xfrm>
            <a:off x="634925" y="563420"/>
            <a:ext cx="3571876" cy="2964640"/>
            <a:chOff x="634925" y="563420"/>
            <a:chExt cx="3571876" cy="2964640"/>
          </a:xfrm>
          <a:solidFill>
            <a:srgbClr val="EC0000"/>
          </a:solidFill>
        </p:grpSpPr>
        <p:sp>
          <p:nvSpPr>
            <p:cNvPr id="9" name="Retângulo 8"/>
            <p:cNvSpPr/>
            <p:nvPr userDrawn="1"/>
          </p:nvSpPr>
          <p:spPr>
            <a:xfrm>
              <a:off x="634925" y="563420"/>
              <a:ext cx="3571875" cy="2964640"/>
            </a:xfrm>
            <a:prstGeom prst="rect">
              <a:avLst/>
            </a:prstGeom>
            <a:grpFill/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10" name="Triângulo retângulo 9"/>
            <p:cNvSpPr/>
            <p:nvPr userDrawn="1"/>
          </p:nvSpPr>
          <p:spPr>
            <a:xfrm rot="10800000" flipH="1">
              <a:off x="878527" y="3138101"/>
              <a:ext cx="3328274" cy="264335"/>
            </a:xfrm>
            <a:prstGeom prst="rtTriangle">
              <a:avLst/>
            </a:prstGeom>
            <a:grpFill/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</p:grpSp>
      <p:cxnSp>
        <p:nvCxnSpPr>
          <p:cNvPr id="12" name="Straight Connector 11"/>
          <p:cNvCxnSpPr/>
          <p:nvPr userDrawn="1"/>
        </p:nvCxnSpPr>
        <p:spPr>
          <a:xfrm>
            <a:off x="931336" y="2159000"/>
            <a:ext cx="359996" cy="0"/>
          </a:xfrm>
          <a:prstGeom prst="line">
            <a:avLst/>
          </a:prstGeom>
          <a:ln w="6350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0" name="Text Placeholder 28"/>
          <p:cNvSpPr>
            <a:spLocks noGrp="1"/>
          </p:cNvSpPr>
          <p:nvPr>
            <p:ph type="body" sz="quarter" idx="10" hasCustomPrompt="1"/>
          </p:nvPr>
        </p:nvSpPr>
        <p:spPr>
          <a:xfrm>
            <a:off x="799638" y="713552"/>
            <a:ext cx="3247428" cy="1345966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2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BR" dirty="0"/>
              <a:t>Título da apresentação</a:t>
            </a:r>
            <a:r>
              <a:rPr lang="x-none" dirty="0"/>
              <a:t>– 24pt</a:t>
            </a:r>
            <a:endParaRPr lang="en-US" dirty="0"/>
          </a:p>
        </p:txBody>
      </p:sp>
      <p:sp>
        <p:nvSpPr>
          <p:cNvPr id="39" name="Text Placeholder 28"/>
          <p:cNvSpPr>
            <a:spLocks noGrp="1"/>
          </p:cNvSpPr>
          <p:nvPr>
            <p:ph type="body" sz="quarter" idx="14" hasCustomPrompt="1"/>
          </p:nvPr>
        </p:nvSpPr>
        <p:spPr>
          <a:xfrm>
            <a:off x="827860" y="2308534"/>
            <a:ext cx="3219207" cy="662271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1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BR" dirty="0"/>
              <a:t>Escreva aqui a descrição - ou informação da apresentação</a:t>
            </a:r>
            <a:r>
              <a:rPr lang="x-none" dirty="0"/>
              <a:t>– 11pt italic</a:t>
            </a:r>
            <a:endParaRPr lang="en-US" dirty="0"/>
          </a:p>
        </p:txBody>
      </p:sp>
      <p:sp>
        <p:nvSpPr>
          <p:cNvPr id="41" name="Text Placeholder 28"/>
          <p:cNvSpPr>
            <a:spLocks noGrp="1"/>
          </p:cNvSpPr>
          <p:nvPr>
            <p:ph type="body" sz="quarter" idx="15" hasCustomPrompt="1"/>
          </p:nvPr>
        </p:nvSpPr>
        <p:spPr>
          <a:xfrm>
            <a:off x="827860" y="2970805"/>
            <a:ext cx="2522971" cy="278448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000" b="1" i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BR" dirty="0"/>
              <a:t>Nome do responsável </a:t>
            </a:r>
            <a:r>
              <a:rPr lang="x-none" dirty="0"/>
              <a:t>– 10pt </a:t>
            </a:r>
            <a:r>
              <a:rPr lang="pt-BR" dirty="0"/>
              <a:t>Negrito</a:t>
            </a:r>
            <a:endParaRPr lang="en-US" dirty="0"/>
          </a:p>
        </p:txBody>
      </p:sp>
      <p:sp>
        <p:nvSpPr>
          <p:cNvPr id="43" name="Text Placeholder 28"/>
          <p:cNvSpPr>
            <a:spLocks noGrp="1"/>
          </p:cNvSpPr>
          <p:nvPr>
            <p:ph type="body" sz="quarter" idx="16" hasCustomPrompt="1"/>
          </p:nvPr>
        </p:nvSpPr>
        <p:spPr>
          <a:xfrm>
            <a:off x="827859" y="3149770"/>
            <a:ext cx="2182511" cy="26512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900" b="0" i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BR" dirty="0"/>
              <a:t>Departamento</a:t>
            </a:r>
            <a:r>
              <a:rPr lang="x-none" dirty="0"/>
              <a:t>/Area – 9pt</a:t>
            </a:r>
            <a:endParaRPr lang="en-US" dirty="0"/>
          </a:p>
        </p:txBody>
      </p:sp>
      <p:sp>
        <p:nvSpPr>
          <p:cNvPr id="11" name="Text Placeholder 28"/>
          <p:cNvSpPr>
            <a:spLocks noGrp="1"/>
          </p:cNvSpPr>
          <p:nvPr>
            <p:ph type="body" sz="quarter" idx="17" hasCustomPrompt="1"/>
          </p:nvPr>
        </p:nvSpPr>
        <p:spPr>
          <a:xfrm>
            <a:off x="3010371" y="3160370"/>
            <a:ext cx="1036695" cy="203217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900" b="0" i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BR" dirty="0" err="1"/>
              <a:t>dd</a:t>
            </a:r>
            <a:r>
              <a:rPr lang="x-none" dirty="0"/>
              <a:t>/</a:t>
            </a:r>
            <a:r>
              <a:rPr lang="pt-BR" dirty="0"/>
              <a:t>mm</a:t>
            </a:r>
            <a:r>
              <a:rPr lang="x-none" dirty="0"/>
              <a:t>/</a:t>
            </a:r>
            <a:r>
              <a:rPr lang="pt-BR" dirty="0"/>
              <a:t>aa</a:t>
            </a:r>
            <a:r>
              <a:rPr lang="x-none" dirty="0"/>
              <a:t> </a:t>
            </a:r>
            <a:br>
              <a:rPr lang="x-none" dirty="0"/>
            </a:br>
            <a:r>
              <a:rPr lang="x-none" dirty="0"/>
              <a:t>- 9pt</a:t>
            </a:r>
            <a:endParaRPr lang="en-US" dirty="0"/>
          </a:p>
        </p:txBody>
      </p:sp>
      <p:pic>
        <p:nvPicPr>
          <p:cNvPr id="6" name="Imagem 5"/>
          <p:cNvPicPr>
            <a:picLocks noChangeAspect="1"/>
          </p:cNvPicPr>
          <p:nvPr userDrawn="1"/>
        </p:nvPicPr>
        <p:blipFill>
          <a:blip r:embed="rId7">
            <a:clrChange>
              <a:clrFrom>
                <a:srgbClr val="231F20"/>
              </a:clrFrom>
              <a:clrTo>
                <a:srgbClr val="231F20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6891867" y="381450"/>
            <a:ext cx="1787676" cy="7173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8923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 advTm="3000"/>
    </mc:Choice>
    <mc:Fallback xmlns="">
      <p:transition advClick="0" advTm="3000"/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e Conteúd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584202" y="575841"/>
            <a:ext cx="7953374" cy="383260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200" b="0" cap="all" spc="50" baseline="0">
                <a:solidFill>
                  <a:schemeClr val="accent1"/>
                </a:solidFill>
                <a:latin typeface="Lato Black" panose="020F0A02020204030203" pitchFamily="34" charset="0"/>
                <a:ea typeface="Roboto" panose="02000000000000000000" pitchFamily="2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 dirty="0"/>
              <a:t>CLIQUE PARA EDITAR O TÍTULO</a:t>
            </a:r>
          </a:p>
        </p:txBody>
      </p:sp>
      <p:sp>
        <p:nvSpPr>
          <p:cNvPr id="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593725" y="959101"/>
            <a:ext cx="7953374" cy="141344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ts val="1200"/>
              </a:lnSpc>
              <a:spcBef>
                <a:spcPts val="0"/>
              </a:spcBef>
              <a:buNone/>
              <a:defRPr sz="900" b="0" cap="none" spc="0" baseline="0">
                <a:solidFill>
                  <a:schemeClr val="accent4"/>
                </a:solidFill>
                <a:latin typeface="Lato" panose="020F0502020204030203" pitchFamily="34" charset="0"/>
                <a:ea typeface="Roboto" panose="02000000000000000000" pitchFamily="2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 dirty="0"/>
              <a:t>Clique para </a:t>
            </a:r>
            <a:r>
              <a:rPr lang="en-US" dirty="0" err="1"/>
              <a:t>editar</a:t>
            </a:r>
            <a:r>
              <a:rPr lang="en-US" dirty="0"/>
              <a:t> o </a:t>
            </a:r>
            <a:r>
              <a:rPr lang="en-US" dirty="0" err="1"/>
              <a:t>subtítulo</a:t>
            </a:r>
            <a:r>
              <a:rPr lang="en-US" dirty="0"/>
              <a:t> </a:t>
            </a: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593725" y="492067"/>
            <a:ext cx="914400" cy="0"/>
          </a:xfrm>
          <a:prstGeom prst="line">
            <a:avLst/>
          </a:prstGeom>
          <a:ln w="28575">
            <a:solidFill>
              <a:srgbClr val="EC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Imagem 12">
            <a:extLst>
              <a:ext uri="{FF2B5EF4-FFF2-40B4-BE49-F238E27FC236}">
                <a16:creationId xmlns:a16="http://schemas.microsoft.com/office/drawing/2014/main" id="{A7C41CD7-960B-4BA3-BE3B-8FB5670A3FB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7127" y="4373217"/>
            <a:ext cx="716873" cy="7702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69242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extLst>
    <p:ext uri="{DCECCB84-F9BA-43D5-87BE-67443E8EF086}">
      <p15:sldGuideLst xmlns:p15="http://schemas.microsoft.com/office/powerpoint/2012/main">
        <p15:guide id="1" orient="horz" pos="2700">
          <p15:clr>
            <a:srgbClr val="FBAE40"/>
          </p15:clr>
        </p15:guide>
        <p15:guide id="2" pos="5384">
          <p15:clr>
            <a:srgbClr val="FBAE40"/>
          </p15:clr>
        </p15:guide>
        <p15:guide id="3" pos="374">
          <p15:clr>
            <a:srgbClr val="FBAE40"/>
          </p15:clr>
        </p15:guide>
        <p15:guide id="4" orient="horz" pos="306">
          <p15:clr>
            <a:srgbClr val="FBAE40"/>
          </p15:clr>
        </p15:guide>
        <p15:guide id="5" orient="horz" pos="972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em branc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m 6">
            <a:extLst>
              <a:ext uri="{FF2B5EF4-FFF2-40B4-BE49-F238E27FC236}">
                <a16:creationId xmlns:a16="http://schemas.microsoft.com/office/drawing/2014/main" id="{84BF2A4C-08D2-4BE4-BE4A-A78FED23A01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7127" y="4373217"/>
            <a:ext cx="716873" cy="7702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60708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extLst>
    <p:ext uri="{DCECCB84-F9BA-43D5-87BE-67443E8EF086}">
      <p15:sldGuideLst xmlns:p15="http://schemas.microsoft.com/office/powerpoint/2012/main">
        <p15:guide id="1" orient="horz" pos="2700">
          <p15:clr>
            <a:srgbClr val="FBAE40"/>
          </p15:clr>
        </p15:guide>
        <p15:guide id="2" pos="5384">
          <p15:clr>
            <a:srgbClr val="FBAE40"/>
          </p15:clr>
        </p15:guide>
        <p15:guide id="3" pos="374">
          <p15:clr>
            <a:srgbClr val="FBAE40"/>
          </p15:clr>
        </p15:guide>
        <p15:guide id="4" orient="horz" pos="306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em branco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m 3">
            <a:extLst>
              <a:ext uri="{FF2B5EF4-FFF2-40B4-BE49-F238E27FC236}">
                <a16:creationId xmlns:a16="http://schemas.microsoft.com/office/drawing/2014/main" id="{25348740-15B1-446E-8ABA-452D4F495B0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7127" y="4373217"/>
            <a:ext cx="716873" cy="7702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20331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extLst>
    <p:ext uri="{DCECCB84-F9BA-43D5-87BE-67443E8EF086}">
      <p15:sldGuideLst xmlns:p15="http://schemas.microsoft.com/office/powerpoint/2012/main">
        <p15:guide id="1" orient="horz" pos="2700">
          <p15:clr>
            <a:srgbClr val="FBAE40"/>
          </p15:clr>
        </p15:guide>
        <p15:guide id="2" pos="5384">
          <p15:clr>
            <a:srgbClr val="FBAE40"/>
          </p15:clr>
        </p15:guide>
        <p15:guide id="3" pos="374">
          <p15:clr>
            <a:srgbClr val="FBAE40"/>
          </p15:clr>
        </p15:guide>
        <p15:guide id="4" orient="horz" pos="306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Vermelho Austrá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EC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Imagem 3">
            <a:extLst>
              <a:ext uri="{FF2B5EF4-FFF2-40B4-BE49-F238E27FC236}">
                <a16:creationId xmlns:a16="http://schemas.microsoft.com/office/drawing/2014/main" id="{3AA1E296-34FE-4ADD-9B0B-EA5256C2152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7126" y="4373217"/>
            <a:ext cx="716873" cy="7702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54527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extLst>
    <p:ext uri="{DCECCB84-F9BA-43D5-87BE-67443E8EF086}">
      <p15:sldGuideLst xmlns:p15="http://schemas.microsoft.com/office/powerpoint/2012/main">
        <p15:guide id="1" orient="horz" pos="2700">
          <p15:clr>
            <a:srgbClr val="FBAE40"/>
          </p15:clr>
        </p15:guide>
        <p15:guide id="2" pos="5384">
          <p15:clr>
            <a:srgbClr val="FBAE40"/>
          </p15:clr>
        </p15:guide>
        <p15:guide id="3" pos="374">
          <p15:clr>
            <a:srgbClr val="FBAE40"/>
          </p15:clr>
        </p15:guide>
        <p15:guide id="4" orient="horz" pos="306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com pequena fot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584202" y="575841"/>
            <a:ext cx="7953374" cy="383260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200" b="0" cap="all" spc="50" baseline="0">
                <a:solidFill>
                  <a:schemeClr val="accent1"/>
                </a:solidFill>
                <a:latin typeface="Lato Black" panose="020F0A02020204030203" pitchFamily="34" charset="0"/>
                <a:ea typeface="Roboto" panose="02000000000000000000" pitchFamily="2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 dirty="0"/>
              <a:t>Clique para </a:t>
            </a:r>
            <a:r>
              <a:rPr lang="en-US" dirty="0" err="1"/>
              <a:t>editar</a:t>
            </a:r>
            <a:r>
              <a:rPr lang="en-US" dirty="0"/>
              <a:t> o </a:t>
            </a:r>
            <a:r>
              <a:rPr lang="en-US" dirty="0" err="1"/>
              <a:t>título</a:t>
            </a:r>
            <a:endParaRPr lang="en-US" dirty="0"/>
          </a:p>
        </p:txBody>
      </p:sp>
      <p:sp>
        <p:nvSpPr>
          <p:cNvPr id="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593725" y="959101"/>
            <a:ext cx="7953374" cy="141344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ts val="1200"/>
              </a:lnSpc>
              <a:spcBef>
                <a:spcPts val="0"/>
              </a:spcBef>
              <a:buNone/>
              <a:defRPr sz="900" b="0" cap="none" spc="0" baseline="0">
                <a:solidFill>
                  <a:schemeClr val="accent4"/>
                </a:solidFill>
                <a:latin typeface="Lato" panose="020F0502020204030203" pitchFamily="34" charset="0"/>
                <a:ea typeface="Roboto" panose="02000000000000000000" pitchFamily="2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 dirty="0"/>
              <a:t>Clique para </a:t>
            </a:r>
            <a:r>
              <a:rPr lang="en-US" dirty="0" err="1"/>
              <a:t>editar</a:t>
            </a:r>
            <a:r>
              <a:rPr lang="en-US" dirty="0"/>
              <a:t> o </a:t>
            </a:r>
            <a:r>
              <a:rPr lang="en-US" dirty="0" err="1"/>
              <a:t>subtítulo</a:t>
            </a:r>
            <a:endParaRPr lang="en-US" dirty="0"/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593725" y="492067"/>
            <a:ext cx="914400" cy="0"/>
          </a:xfrm>
          <a:prstGeom prst="line">
            <a:avLst/>
          </a:prstGeom>
          <a:ln w="28575">
            <a:solidFill>
              <a:srgbClr val="EC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4725986" y="1543050"/>
            <a:ext cx="3821113" cy="2743200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FontTx/>
              <a:buNone/>
              <a:defRPr sz="1000">
                <a:solidFill>
                  <a:schemeClr val="accent5"/>
                </a:solidFill>
                <a:latin typeface="Lato" panose="020F0502020204030203" pitchFamily="34" charset="0"/>
              </a:defRPr>
            </a:lvl1pPr>
          </a:lstStyle>
          <a:p>
            <a:endParaRPr lang="en-US"/>
          </a:p>
        </p:txBody>
      </p:sp>
      <p:pic>
        <p:nvPicPr>
          <p:cNvPr id="13" name="Imagem 12">
            <a:extLst>
              <a:ext uri="{FF2B5EF4-FFF2-40B4-BE49-F238E27FC236}">
                <a16:creationId xmlns:a16="http://schemas.microsoft.com/office/drawing/2014/main" id="{417A36B6-2F22-4DA7-A04D-1BBE93DDB69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7127" y="4373217"/>
            <a:ext cx="716873" cy="7702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00021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extLst>
    <p:ext uri="{DCECCB84-F9BA-43D5-87BE-67443E8EF086}">
      <p15:sldGuideLst xmlns:p15="http://schemas.microsoft.com/office/powerpoint/2012/main">
        <p15:guide id="1" orient="horz" pos="2700">
          <p15:clr>
            <a:srgbClr val="FBAE40"/>
          </p15:clr>
        </p15:guide>
        <p15:guide id="2" pos="5384">
          <p15:clr>
            <a:srgbClr val="FBAE40"/>
          </p15:clr>
        </p15:guide>
        <p15:guide id="3" pos="374">
          <p15:clr>
            <a:srgbClr val="FBAE40"/>
          </p15:clr>
        </p15:guide>
        <p15:guide id="4" orient="horz" pos="306">
          <p15:clr>
            <a:srgbClr val="FBAE40"/>
          </p15:clr>
        </p15:guide>
        <p15:guide id="5" orient="horz" pos="972">
          <p15:clr>
            <a:srgbClr val="FBAE40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com pequena fot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584202" y="575841"/>
            <a:ext cx="7953374" cy="383260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200" b="0" cap="all" spc="50" baseline="0">
                <a:solidFill>
                  <a:schemeClr val="accent1"/>
                </a:solidFill>
                <a:latin typeface="Lato Black" panose="020F0A02020204030203" pitchFamily="34" charset="0"/>
                <a:ea typeface="Roboto" panose="02000000000000000000" pitchFamily="2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 dirty="0"/>
              <a:t>Clique para </a:t>
            </a:r>
            <a:r>
              <a:rPr lang="en-US" dirty="0" err="1"/>
              <a:t>editar</a:t>
            </a:r>
            <a:r>
              <a:rPr lang="en-US" dirty="0"/>
              <a:t> o </a:t>
            </a:r>
            <a:r>
              <a:rPr lang="en-US" dirty="0" err="1"/>
              <a:t>título</a:t>
            </a:r>
            <a:endParaRPr lang="en-US" dirty="0"/>
          </a:p>
        </p:txBody>
      </p:sp>
      <p:sp>
        <p:nvSpPr>
          <p:cNvPr id="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593725" y="959101"/>
            <a:ext cx="7953374" cy="141344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ts val="1200"/>
              </a:lnSpc>
              <a:spcBef>
                <a:spcPts val="0"/>
              </a:spcBef>
              <a:buNone/>
              <a:defRPr sz="900" b="0" cap="none" spc="0" baseline="0">
                <a:solidFill>
                  <a:schemeClr val="accent4"/>
                </a:solidFill>
                <a:latin typeface="Lato" panose="020F0502020204030203" pitchFamily="34" charset="0"/>
                <a:ea typeface="Roboto" panose="02000000000000000000" pitchFamily="2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 dirty="0"/>
              <a:t>Clique para </a:t>
            </a:r>
            <a:r>
              <a:rPr lang="en-US" dirty="0" err="1"/>
              <a:t>editar</a:t>
            </a:r>
            <a:r>
              <a:rPr lang="en-US" dirty="0"/>
              <a:t> o </a:t>
            </a:r>
            <a:r>
              <a:rPr lang="en-US" dirty="0" err="1"/>
              <a:t>subtítulo</a:t>
            </a:r>
            <a:endParaRPr lang="en-US" dirty="0"/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593725" y="492067"/>
            <a:ext cx="914400" cy="0"/>
          </a:xfrm>
          <a:prstGeom prst="line">
            <a:avLst/>
          </a:prstGeom>
          <a:ln w="28575">
            <a:solidFill>
              <a:srgbClr val="EC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4725986" y="1543050"/>
            <a:ext cx="3821113" cy="2743200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FontTx/>
              <a:buNone/>
              <a:defRPr sz="1000">
                <a:solidFill>
                  <a:schemeClr val="accent5"/>
                </a:solidFill>
                <a:latin typeface="Lato" panose="020F0502020204030203" pitchFamily="34" charset="0"/>
              </a:defRPr>
            </a:lvl1pPr>
          </a:lstStyle>
          <a:p>
            <a:endParaRPr lang="en-US"/>
          </a:p>
        </p:txBody>
      </p:sp>
      <p:pic>
        <p:nvPicPr>
          <p:cNvPr id="13" name="Imagem 12">
            <a:extLst>
              <a:ext uri="{FF2B5EF4-FFF2-40B4-BE49-F238E27FC236}">
                <a16:creationId xmlns:a16="http://schemas.microsoft.com/office/drawing/2014/main" id="{417A36B6-2F22-4DA7-A04D-1BBE93DDB69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7127" y="4373217"/>
            <a:ext cx="716873" cy="7702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35056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extLst>
    <p:ext uri="{DCECCB84-F9BA-43D5-87BE-67443E8EF086}">
      <p15:sldGuideLst xmlns:p15="http://schemas.microsoft.com/office/powerpoint/2012/main">
        <p15:guide id="1" orient="horz" pos="2700">
          <p15:clr>
            <a:srgbClr val="FBAE40"/>
          </p15:clr>
        </p15:guide>
        <p15:guide id="2" pos="5384">
          <p15:clr>
            <a:srgbClr val="FBAE40"/>
          </p15:clr>
        </p15:guide>
        <p15:guide id="3" pos="374">
          <p15:clr>
            <a:srgbClr val="FBAE40"/>
          </p15:clr>
        </p15:guide>
        <p15:guide id="4" orient="horz" pos="306">
          <p15:clr>
            <a:srgbClr val="FBAE40"/>
          </p15:clr>
        </p15:guide>
        <p15:guide id="5" orient="horz" pos="972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com divisão de foto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593725" y="1543050"/>
            <a:ext cx="7953375" cy="27432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584202" y="575841"/>
            <a:ext cx="7953374" cy="383260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200" b="0" cap="all" spc="50" baseline="0">
                <a:solidFill>
                  <a:schemeClr val="accent1"/>
                </a:solidFill>
                <a:latin typeface="Lato Black" panose="020F0A02020204030203" pitchFamily="34" charset="0"/>
                <a:ea typeface="Roboto" panose="02000000000000000000" pitchFamily="2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 dirty="0"/>
              <a:t>Clique para </a:t>
            </a:r>
            <a:r>
              <a:rPr lang="en-US" dirty="0" err="1"/>
              <a:t>editar</a:t>
            </a:r>
            <a:r>
              <a:rPr lang="en-US" dirty="0"/>
              <a:t> o </a:t>
            </a:r>
            <a:r>
              <a:rPr lang="en-US" dirty="0" err="1"/>
              <a:t>título</a:t>
            </a:r>
            <a:endParaRPr lang="en-US" dirty="0"/>
          </a:p>
        </p:txBody>
      </p:sp>
      <p:sp>
        <p:nvSpPr>
          <p:cNvPr id="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593725" y="959101"/>
            <a:ext cx="7953374" cy="141344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ts val="1200"/>
              </a:lnSpc>
              <a:spcBef>
                <a:spcPts val="0"/>
              </a:spcBef>
              <a:buNone/>
              <a:defRPr sz="900" b="0" cap="none" spc="0" baseline="0">
                <a:solidFill>
                  <a:schemeClr val="accent4"/>
                </a:solidFill>
                <a:latin typeface="Lato" panose="020F0502020204030203" pitchFamily="34" charset="0"/>
                <a:ea typeface="Roboto" panose="02000000000000000000" pitchFamily="2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 dirty="0"/>
              <a:t>Clique para </a:t>
            </a:r>
            <a:r>
              <a:rPr lang="en-US" dirty="0" err="1"/>
              <a:t>editar</a:t>
            </a:r>
            <a:r>
              <a:rPr lang="en-US" dirty="0"/>
              <a:t> o </a:t>
            </a:r>
            <a:r>
              <a:rPr lang="en-US" dirty="0" err="1"/>
              <a:t>subtítulo</a:t>
            </a:r>
            <a:endParaRPr lang="en-US" dirty="0"/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593725" y="492067"/>
            <a:ext cx="914400" cy="0"/>
          </a:xfrm>
          <a:prstGeom prst="line">
            <a:avLst/>
          </a:prstGeom>
          <a:ln w="28575">
            <a:solidFill>
              <a:srgbClr val="EC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593725" y="1543050"/>
            <a:ext cx="3821113" cy="2743200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FontTx/>
              <a:buNone/>
              <a:defRPr sz="1000">
                <a:solidFill>
                  <a:schemeClr val="accent5"/>
                </a:solidFill>
                <a:latin typeface="Lato" panose="020F0502020204030203" pitchFamily="34" charset="0"/>
              </a:defRPr>
            </a:lvl1pPr>
          </a:lstStyle>
          <a:p>
            <a:endParaRPr lang="en-US"/>
          </a:p>
        </p:txBody>
      </p:sp>
      <p:pic>
        <p:nvPicPr>
          <p:cNvPr id="14" name="Imagem 13">
            <a:extLst>
              <a:ext uri="{FF2B5EF4-FFF2-40B4-BE49-F238E27FC236}">
                <a16:creationId xmlns:a16="http://schemas.microsoft.com/office/drawing/2014/main" id="{F34F6E55-9D75-4FDA-88B0-F3942CF1A5A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7127" y="4373217"/>
            <a:ext cx="716873" cy="7702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31531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extLst>
    <p:ext uri="{DCECCB84-F9BA-43D5-87BE-67443E8EF086}">
      <p15:sldGuideLst xmlns:p15="http://schemas.microsoft.com/office/powerpoint/2012/main">
        <p15:guide id="1" orient="horz" pos="2700">
          <p15:clr>
            <a:srgbClr val="FBAE40"/>
          </p15:clr>
        </p15:guide>
        <p15:guide id="2" pos="5384">
          <p15:clr>
            <a:srgbClr val="FBAE40"/>
          </p15:clr>
        </p15:guide>
        <p15:guide id="3" pos="374">
          <p15:clr>
            <a:srgbClr val="FBAE40"/>
          </p15:clr>
        </p15:guide>
        <p15:guide id="4" orient="horz" pos="306">
          <p15:clr>
            <a:srgbClr val="FBAE40"/>
          </p15:clr>
        </p15:guide>
        <p15:guide id="5" orient="horz" pos="972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com foto redond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584202" y="575841"/>
            <a:ext cx="7953374" cy="383260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200" b="0" cap="all" spc="50" baseline="0">
                <a:solidFill>
                  <a:schemeClr val="accent1"/>
                </a:solidFill>
                <a:latin typeface="Lato Black" panose="020F0A02020204030203" pitchFamily="34" charset="0"/>
                <a:ea typeface="Roboto" panose="02000000000000000000" pitchFamily="2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 dirty="0"/>
              <a:t>Clique para </a:t>
            </a:r>
            <a:r>
              <a:rPr lang="en-US" dirty="0" err="1"/>
              <a:t>editar</a:t>
            </a:r>
            <a:r>
              <a:rPr lang="en-US" dirty="0"/>
              <a:t> o </a:t>
            </a:r>
            <a:r>
              <a:rPr lang="en-US" dirty="0" err="1"/>
              <a:t>título</a:t>
            </a:r>
            <a:endParaRPr lang="en-US" dirty="0"/>
          </a:p>
        </p:txBody>
      </p:sp>
      <p:sp>
        <p:nvSpPr>
          <p:cNvPr id="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593725" y="959101"/>
            <a:ext cx="7953374" cy="141344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ts val="1200"/>
              </a:lnSpc>
              <a:spcBef>
                <a:spcPts val="0"/>
              </a:spcBef>
              <a:buNone/>
              <a:defRPr sz="900" b="0" cap="none" spc="0" baseline="0">
                <a:solidFill>
                  <a:schemeClr val="accent4"/>
                </a:solidFill>
                <a:latin typeface="Lato" panose="020F0502020204030203" pitchFamily="34" charset="0"/>
                <a:ea typeface="Roboto" panose="02000000000000000000" pitchFamily="2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 dirty="0"/>
              <a:t>Clique para </a:t>
            </a:r>
            <a:r>
              <a:rPr lang="en-US" dirty="0" err="1"/>
              <a:t>editar</a:t>
            </a:r>
            <a:r>
              <a:rPr lang="en-US" dirty="0"/>
              <a:t> o </a:t>
            </a:r>
            <a:r>
              <a:rPr lang="en-US" dirty="0" err="1"/>
              <a:t>subtítulo</a:t>
            </a:r>
            <a:endParaRPr lang="en-US" dirty="0"/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593725" y="492067"/>
            <a:ext cx="914400" cy="0"/>
          </a:xfrm>
          <a:prstGeom prst="line">
            <a:avLst/>
          </a:prstGeom>
          <a:ln w="28575">
            <a:solidFill>
              <a:srgbClr val="EC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Picture Placeholder 7"/>
          <p:cNvSpPr>
            <a:spLocks noGrp="1"/>
          </p:cNvSpPr>
          <p:nvPr>
            <p:ph type="pic" sz="quarter" idx="12"/>
          </p:nvPr>
        </p:nvSpPr>
        <p:spPr>
          <a:xfrm>
            <a:off x="0" y="1543050"/>
            <a:ext cx="3152716" cy="2743200"/>
          </a:xfrm>
          <a:custGeom>
            <a:avLst/>
            <a:gdLst>
              <a:gd name="connsiteX0" fmla="*/ 0 w 9516533"/>
              <a:gd name="connsiteY0" fmla="*/ 0 h 8280400"/>
              <a:gd name="connsiteX1" fmla="*/ 5376333 w 9516533"/>
              <a:gd name="connsiteY1" fmla="*/ 0 h 8280400"/>
              <a:gd name="connsiteX2" fmla="*/ 9516533 w 9516533"/>
              <a:gd name="connsiteY2" fmla="*/ 4140200 h 8280400"/>
              <a:gd name="connsiteX3" fmla="*/ 5376333 w 9516533"/>
              <a:gd name="connsiteY3" fmla="*/ 8280400 h 8280400"/>
              <a:gd name="connsiteX4" fmla="*/ 0 w 9516533"/>
              <a:gd name="connsiteY4" fmla="*/ 8280400 h 8280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516533" h="8280400">
                <a:moveTo>
                  <a:pt x="0" y="0"/>
                </a:moveTo>
                <a:lnTo>
                  <a:pt x="5376333" y="0"/>
                </a:lnTo>
                <a:cubicBezTo>
                  <a:pt x="7662902" y="0"/>
                  <a:pt x="9516533" y="1853631"/>
                  <a:pt x="9516533" y="4140200"/>
                </a:cubicBezTo>
                <a:cubicBezTo>
                  <a:pt x="9516533" y="6426769"/>
                  <a:pt x="7662902" y="8280400"/>
                  <a:pt x="5376333" y="8280400"/>
                </a:cubicBezTo>
                <a:lnTo>
                  <a:pt x="0" y="8280400"/>
                </a:lnTo>
                <a:close/>
              </a:path>
            </a:pathLst>
          </a:custGeom>
        </p:spPr>
        <p:txBody>
          <a:bodyPr wrap="square" lIns="0" tIns="0" rIns="0" bIns="0" anchor="ctr" anchorCtr="0">
            <a:noAutofit/>
          </a:bodyPr>
          <a:lstStyle>
            <a:lvl1pPr marL="0" indent="0" algn="ctr">
              <a:buFontTx/>
              <a:buNone/>
              <a:defRPr sz="1000">
                <a:solidFill>
                  <a:schemeClr val="accent5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4" name="Imagem 13">
            <a:extLst>
              <a:ext uri="{FF2B5EF4-FFF2-40B4-BE49-F238E27FC236}">
                <a16:creationId xmlns:a16="http://schemas.microsoft.com/office/drawing/2014/main" id="{9C82BD62-1A7C-44ED-BF94-BF6CFBE4AAF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7127" y="4373217"/>
            <a:ext cx="716873" cy="7702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42367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extLst>
    <p:ext uri="{DCECCB84-F9BA-43D5-87BE-67443E8EF086}">
      <p15:sldGuideLst xmlns:p15="http://schemas.microsoft.com/office/powerpoint/2012/main">
        <p15:guide id="1" orient="horz" pos="2700">
          <p15:clr>
            <a:srgbClr val="FBAE40"/>
          </p15:clr>
        </p15:guide>
        <p15:guide id="2" pos="5384">
          <p15:clr>
            <a:srgbClr val="FBAE40"/>
          </p15:clr>
        </p15:guide>
        <p15:guide id="3" pos="374">
          <p15:clr>
            <a:srgbClr val="FBAE40"/>
          </p15:clr>
        </p15:guide>
        <p15:guide id="4" orient="horz" pos="306">
          <p15:clr>
            <a:srgbClr val="FBAE40"/>
          </p15:clr>
        </p15:guide>
        <p15:guide id="5" orient="horz" pos="972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com foto na esquerd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3986213" cy="5143500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FontTx/>
              <a:buNone/>
              <a:defRPr sz="1000">
                <a:solidFill>
                  <a:schemeClr val="accent5"/>
                </a:solidFill>
                <a:latin typeface="Lato" panose="020F0502020204030203" pitchFamily="34" charset="0"/>
              </a:defRPr>
            </a:lvl1pPr>
          </a:lstStyle>
          <a:p>
            <a:endParaRPr lang="en-US"/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0F29F348-DBE9-40F9-BB60-FF3FE56C477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7127" y="4373217"/>
            <a:ext cx="716873" cy="7702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29118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extLst>
    <p:ext uri="{DCECCB84-F9BA-43D5-87BE-67443E8EF086}">
      <p15:sldGuideLst xmlns:p15="http://schemas.microsoft.com/office/powerpoint/2012/main">
        <p15:guide id="1" orient="horz" pos="2700">
          <p15:clr>
            <a:srgbClr val="FBAE40"/>
          </p15:clr>
        </p15:guide>
        <p15:guide id="2" pos="5384">
          <p15:clr>
            <a:srgbClr val="FBAE40"/>
          </p15:clr>
        </p15:guide>
        <p15:guide id="3" pos="374">
          <p15:clr>
            <a:srgbClr val="FBAE40"/>
          </p15:clr>
        </p15:guide>
        <p15:guide id="4" orient="horz" pos="306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com foto na esquerda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4572000" cy="5143500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FontTx/>
              <a:buNone/>
              <a:defRPr sz="1000">
                <a:solidFill>
                  <a:schemeClr val="accent5"/>
                </a:solidFill>
                <a:latin typeface="Lato" panose="020F0502020204030203" pitchFamily="34" charset="0"/>
              </a:defRPr>
            </a:lvl1pPr>
          </a:lstStyle>
          <a:p>
            <a:endParaRPr lang="en-US"/>
          </a:p>
        </p:txBody>
      </p:sp>
      <p:pic>
        <p:nvPicPr>
          <p:cNvPr id="8" name="Imagem 7">
            <a:extLst>
              <a:ext uri="{FF2B5EF4-FFF2-40B4-BE49-F238E27FC236}">
                <a16:creationId xmlns:a16="http://schemas.microsoft.com/office/drawing/2014/main" id="{CD93093B-9C87-49BA-A36F-999EEAC7F4E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7127" y="4373217"/>
            <a:ext cx="716873" cy="7702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1387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extLst>
    <p:ext uri="{DCECCB84-F9BA-43D5-87BE-67443E8EF086}">
      <p15:sldGuideLst xmlns:p15="http://schemas.microsoft.com/office/powerpoint/2012/main">
        <p15:guide id="1" orient="horz" pos="2700">
          <p15:clr>
            <a:srgbClr val="FBAE40"/>
          </p15:clr>
        </p15:guide>
        <p15:guide id="2" pos="5384">
          <p15:clr>
            <a:srgbClr val="FBAE40"/>
          </p15:clr>
        </p15:guide>
        <p15:guide id="3" pos="374">
          <p15:clr>
            <a:srgbClr val="FBAE40"/>
          </p15:clr>
        </p15:guide>
        <p15:guide id="4" orient="horz" pos="306">
          <p15:clr>
            <a:srgbClr val="FBAE40"/>
          </p15:clr>
        </p15:guide>
        <p15:guide id="0" orient="horz" pos="972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com foto na direit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4572001" y="0"/>
            <a:ext cx="4572000" cy="5143500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FontTx/>
              <a:buNone/>
              <a:defRPr sz="1000">
                <a:solidFill>
                  <a:schemeClr val="accent5"/>
                </a:solidFill>
                <a:latin typeface="Lato" panose="020F0502020204030203" pitchFamily="34" charset="0"/>
              </a:defRPr>
            </a:lvl1pPr>
          </a:lstStyle>
          <a:p>
            <a:endParaRPr lang="en-US"/>
          </a:p>
        </p:txBody>
      </p:sp>
      <p:pic>
        <p:nvPicPr>
          <p:cNvPr id="5" name="Imagem 4">
            <a:extLst>
              <a:ext uri="{FF2B5EF4-FFF2-40B4-BE49-F238E27FC236}">
                <a16:creationId xmlns:a16="http://schemas.microsoft.com/office/drawing/2014/main" id="{2AAC6521-B7C5-4C4F-A7E2-361FAD0A33D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373217"/>
            <a:ext cx="716873" cy="7702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47337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extLst>
    <p:ext uri="{DCECCB84-F9BA-43D5-87BE-67443E8EF086}">
      <p15:sldGuideLst xmlns:p15="http://schemas.microsoft.com/office/powerpoint/2012/main">
        <p15:guide id="1" orient="horz" pos="2700">
          <p15:clr>
            <a:srgbClr val="FBAE40"/>
          </p15:clr>
        </p15:guide>
        <p15:guide id="2" pos="5384">
          <p15:clr>
            <a:srgbClr val="FBAE40"/>
          </p15:clr>
        </p15:guide>
        <p15:guide id="3" pos="374">
          <p15:clr>
            <a:srgbClr val="FBAE40"/>
          </p15:clr>
        </p15:guide>
        <p15:guide id="4" orient="horz" pos="306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com título e duas foto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584202" y="575841"/>
            <a:ext cx="7953374" cy="383260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200" b="0" cap="all" spc="50" baseline="0">
                <a:solidFill>
                  <a:schemeClr val="accent1"/>
                </a:solidFill>
                <a:latin typeface="Lato Black" panose="020F0A02020204030203" pitchFamily="34" charset="0"/>
                <a:ea typeface="Roboto" panose="02000000000000000000" pitchFamily="2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 dirty="0"/>
              <a:t>Clique para </a:t>
            </a:r>
            <a:r>
              <a:rPr lang="en-US" dirty="0" err="1"/>
              <a:t>editar</a:t>
            </a:r>
            <a:r>
              <a:rPr lang="en-US" dirty="0"/>
              <a:t> o </a:t>
            </a:r>
            <a:r>
              <a:rPr lang="en-US" dirty="0" err="1"/>
              <a:t>título</a:t>
            </a:r>
            <a:endParaRPr lang="en-US" dirty="0"/>
          </a:p>
        </p:txBody>
      </p:sp>
      <p:sp>
        <p:nvSpPr>
          <p:cNvPr id="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593725" y="959101"/>
            <a:ext cx="7953374" cy="141344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ts val="1200"/>
              </a:lnSpc>
              <a:spcBef>
                <a:spcPts val="0"/>
              </a:spcBef>
              <a:buNone/>
              <a:defRPr sz="900" b="0" cap="none" spc="0" baseline="0">
                <a:solidFill>
                  <a:schemeClr val="accent4"/>
                </a:solidFill>
                <a:latin typeface="Lato" panose="020F0502020204030203" pitchFamily="34" charset="0"/>
                <a:ea typeface="Roboto" panose="02000000000000000000" pitchFamily="2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 dirty="0"/>
              <a:t>Clique para </a:t>
            </a:r>
            <a:r>
              <a:rPr lang="en-US" dirty="0" err="1"/>
              <a:t>editar</a:t>
            </a:r>
            <a:r>
              <a:rPr lang="en-US" dirty="0"/>
              <a:t> o </a:t>
            </a:r>
            <a:r>
              <a:rPr lang="en-US" dirty="0" err="1"/>
              <a:t>subtítulo</a:t>
            </a:r>
            <a:endParaRPr lang="en-US" dirty="0"/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593725" y="492067"/>
            <a:ext cx="914400" cy="0"/>
          </a:xfrm>
          <a:prstGeom prst="line">
            <a:avLst/>
          </a:prstGeom>
          <a:ln w="28575">
            <a:solidFill>
              <a:srgbClr val="EC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593724" y="1543050"/>
            <a:ext cx="3821113" cy="2743200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FontTx/>
              <a:buNone/>
              <a:defRPr sz="1000">
                <a:solidFill>
                  <a:schemeClr val="accent5"/>
                </a:solidFill>
                <a:latin typeface="Lato" panose="020F0502020204030203" pitchFamily="34" charset="0"/>
              </a:defRPr>
            </a:lvl1pPr>
          </a:lstStyle>
          <a:p>
            <a:endParaRPr lang="en-US"/>
          </a:p>
        </p:txBody>
      </p:sp>
      <p:sp>
        <p:nvSpPr>
          <p:cNvPr id="20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4725986" y="1543050"/>
            <a:ext cx="3821113" cy="2743200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FontTx/>
              <a:buNone/>
              <a:defRPr sz="1000">
                <a:solidFill>
                  <a:schemeClr val="accent5"/>
                </a:solidFill>
                <a:latin typeface="Lato" panose="020F0502020204030203" pitchFamily="34" charset="0"/>
              </a:defRPr>
            </a:lvl1pPr>
          </a:lstStyle>
          <a:p>
            <a:endParaRPr lang="en-US"/>
          </a:p>
        </p:txBody>
      </p:sp>
      <p:pic>
        <p:nvPicPr>
          <p:cNvPr id="13" name="Imagem 12">
            <a:extLst>
              <a:ext uri="{FF2B5EF4-FFF2-40B4-BE49-F238E27FC236}">
                <a16:creationId xmlns:a16="http://schemas.microsoft.com/office/drawing/2014/main" id="{A50785E9-16F5-40C8-8FE9-9EFCC4A62DE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7127" y="4373217"/>
            <a:ext cx="716873" cy="7702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65985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extLst>
    <p:ext uri="{DCECCB84-F9BA-43D5-87BE-67443E8EF086}">
      <p15:sldGuideLst xmlns:p15="http://schemas.microsoft.com/office/powerpoint/2012/main">
        <p15:guide id="1" orient="horz" pos="2700">
          <p15:clr>
            <a:srgbClr val="FBAE40"/>
          </p15:clr>
        </p15:guide>
        <p15:guide id="2" pos="5384">
          <p15:clr>
            <a:srgbClr val="FBAE40"/>
          </p15:clr>
        </p15:guide>
        <p15:guide id="3" pos="374">
          <p15:clr>
            <a:srgbClr val="FBAE40"/>
          </p15:clr>
        </p15:guide>
        <p15:guide id="4" orient="horz" pos="306">
          <p15:clr>
            <a:srgbClr val="FBAE40"/>
          </p15:clr>
        </p15:guide>
        <p15:guide id="5" orient="horz" pos="972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com 3 foto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584202" y="575841"/>
            <a:ext cx="7953374" cy="383260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200" b="0" cap="all" spc="50" baseline="0">
                <a:solidFill>
                  <a:schemeClr val="accent1"/>
                </a:solidFill>
                <a:latin typeface="Lato Black" panose="020F0A02020204030203" pitchFamily="34" charset="0"/>
                <a:ea typeface="Roboto" panose="02000000000000000000" pitchFamily="2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 dirty="0"/>
              <a:t>Clique para </a:t>
            </a:r>
            <a:r>
              <a:rPr lang="en-US" dirty="0" err="1"/>
              <a:t>editar</a:t>
            </a:r>
            <a:r>
              <a:rPr lang="en-US" dirty="0"/>
              <a:t> o </a:t>
            </a:r>
            <a:r>
              <a:rPr lang="en-US" dirty="0" err="1"/>
              <a:t>título</a:t>
            </a:r>
            <a:endParaRPr lang="en-US" dirty="0"/>
          </a:p>
        </p:txBody>
      </p:sp>
      <p:sp>
        <p:nvSpPr>
          <p:cNvPr id="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593725" y="959101"/>
            <a:ext cx="7953374" cy="141344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ts val="1200"/>
              </a:lnSpc>
              <a:spcBef>
                <a:spcPts val="0"/>
              </a:spcBef>
              <a:buNone/>
              <a:defRPr sz="900" b="0" cap="none" spc="0" baseline="0">
                <a:solidFill>
                  <a:schemeClr val="accent4"/>
                </a:solidFill>
                <a:latin typeface="Lato" panose="020F0502020204030203" pitchFamily="34" charset="0"/>
                <a:ea typeface="Roboto" panose="02000000000000000000" pitchFamily="2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 dirty="0"/>
              <a:t>Clique para </a:t>
            </a:r>
            <a:r>
              <a:rPr lang="en-US" dirty="0" err="1"/>
              <a:t>editar</a:t>
            </a:r>
            <a:r>
              <a:rPr lang="en-US" dirty="0"/>
              <a:t> o </a:t>
            </a:r>
            <a:r>
              <a:rPr lang="en-US" dirty="0" err="1"/>
              <a:t>subtítulo</a:t>
            </a:r>
            <a:endParaRPr lang="en-US" dirty="0"/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593725" y="492067"/>
            <a:ext cx="914400" cy="0"/>
          </a:xfrm>
          <a:prstGeom prst="line">
            <a:avLst/>
          </a:prstGeom>
          <a:ln w="28575">
            <a:solidFill>
              <a:srgbClr val="EC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593725" y="1543050"/>
            <a:ext cx="2513188" cy="2743200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FontTx/>
              <a:buNone/>
              <a:defRPr sz="1000">
                <a:solidFill>
                  <a:schemeClr val="accent5"/>
                </a:solidFill>
                <a:latin typeface="Lato" panose="020F0502020204030203" pitchFamily="34" charset="0"/>
              </a:defRPr>
            </a:lvl1pPr>
          </a:lstStyle>
          <a:p>
            <a:endParaRPr lang="en-US"/>
          </a:p>
        </p:txBody>
      </p:sp>
      <p:sp>
        <p:nvSpPr>
          <p:cNvPr id="14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6033912" y="1543050"/>
            <a:ext cx="2513188" cy="2743200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FontTx/>
              <a:buNone/>
              <a:defRPr sz="1000">
                <a:solidFill>
                  <a:schemeClr val="accent5"/>
                </a:solidFill>
                <a:latin typeface="Lato" panose="020F0502020204030203" pitchFamily="34" charset="0"/>
              </a:defRPr>
            </a:lvl1pPr>
          </a:lstStyle>
          <a:p>
            <a:endParaRPr lang="en-US"/>
          </a:p>
        </p:txBody>
      </p:sp>
      <p:sp>
        <p:nvSpPr>
          <p:cNvPr id="15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3315406" y="1543050"/>
            <a:ext cx="2513188" cy="2743200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FontTx/>
              <a:buNone/>
              <a:defRPr sz="1000">
                <a:solidFill>
                  <a:schemeClr val="accent5"/>
                </a:solidFill>
                <a:latin typeface="Lato" panose="020F0502020204030203" pitchFamily="34" charset="0"/>
              </a:defRPr>
            </a:lvl1pPr>
          </a:lstStyle>
          <a:p>
            <a:endParaRPr lang="en-US"/>
          </a:p>
        </p:txBody>
      </p:sp>
      <p:pic>
        <p:nvPicPr>
          <p:cNvPr id="13" name="Imagem 12">
            <a:extLst>
              <a:ext uri="{FF2B5EF4-FFF2-40B4-BE49-F238E27FC236}">
                <a16:creationId xmlns:a16="http://schemas.microsoft.com/office/drawing/2014/main" id="{33C9BC74-459D-4CB9-B544-26C2E591A7C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7127" y="4373217"/>
            <a:ext cx="716873" cy="7702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0347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extLst>
    <p:ext uri="{DCECCB84-F9BA-43D5-87BE-67443E8EF086}">
      <p15:sldGuideLst xmlns:p15="http://schemas.microsoft.com/office/powerpoint/2012/main">
        <p15:guide id="1" orient="horz" pos="2700">
          <p15:clr>
            <a:srgbClr val="FBAE40"/>
          </p15:clr>
        </p15:guide>
        <p15:guide id="2" pos="5384">
          <p15:clr>
            <a:srgbClr val="FBAE40"/>
          </p15:clr>
        </p15:guide>
        <p15:guide id="3" pos="374">
          <p15:clr>
            <a:srgbClr val="FBAE40"/>
          </p15:clr>
        </p15:guide>
        <p15:guide id="4" orient="horz" pos="306">
          <p15:clr>
            <a:srgbClr val="FBAE40"/>
          </p15:clr>
        </p15:guide>
        <p15:guide id="5" orient="horz" pos="972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com 5 foto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584202" y="575841"/>
            <a:ext cx="7953374" cy="383260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200" b="0" cap="all" spc="50" baseline="0">
                <a:solidFill>
                  <a:schemeClr val="accent1"/>
                </a:solidFill>
                <a:latin typeface="Lato Black" panose="020F0A02020204030203" pitchFamily="34" charset="0"/>
                <a:ea typeface="Roboto" panose="02000000000000000000" pitchFamily="2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 dirty="0"/>
              <a:t>Clique para </a:t>
            </a:r>
            <a:r>
              <a:rPr lang="en-US" dirty="0" err="1"/>
              <a:t>editar</a:t>
            </a:r>
            <a:r>
              <a:rPr lang="en-US" dirty="0"/>
              <a:t> o </a:t>
            </a:r>
            <a:r>
              <a:rPr lang="en-US" dirty="0" err="1"/>
              <a:t>título</a:t>
            </a:r>
            <a:endParaRPr lang="en-US" dirty="0"/>
          </a:p>
        </p:txBody>
      </p:sp>
      <p:sp>
        <p:nvSpPr>
          <p:cNvPr id="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593725" y="959101"/>
            <a:ext cx="7953374" cy="141344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ts val="1200"/>
              </a:lnSpc>
              <a:spcBef>
                <a:spcPts val="0"/>
              </a:spcBef>
              <a:buNone/>
              <a:defRPr sz="900" b="0" cap="none" spc="0" baseline="0">
                <a:solidFill>
                  <a:schemeClr val="accent4"/>
                </a:solidFill>
                <a:latin typeface="Lato" panose="020F0502020204030203" pitchFamily="34" charset="0"/>
                <a:ea typeface="Roboto" panose="02000000000000000000" pitchFamily="2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 dirty="0"/>
              <a:t>Clique para </a:t>
            </a:r>
            <a:r>
              <a:rPr lang="en-US" dirty="0" err="1"/>
              <a:t>editar</a:t>
            </a:r>
            <a:r>
              <a:rPr lang="en-US" dirty="0"/>
              <a:t> o </a:t>
            </a:r>
            <a:r>
              <a:rPr lang="en-US" dirty="0" err="1"/>
              <a:t>subtítulo</a:t>
            </a:r>
            <a:endParaRPr lang="en-US" dirty="0"/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593725" y="492067"/>
            <a:ext cx="914400" cy="0"/>
          </a:xfrm>
          <a:prstGeom prst="line">
            <a:avLst/>
          </a:prstGeom>
          <a:ln w="28575">
            <a:solidFill>
              <a:srgbClr val="EC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593725" y="1543050"/>
            <a:ext cx="2560108" cy="1316520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FontTx/>
              <a:buNone/>
              <a:defRPr sz="800">
                <a:solidFill>
                  <a:schemeClr val="accent5"/>
                </a:solidFill>
                <a:latin typeface="Lato" panose="020F0502020204030203" pitchFamily="34" charset="0"/>
              </a:defRPr>
            </a:lvl1pPr>
          </a:lstStyle>
          <a:p>
            <a:endParaRPr lang="en-US"/>
          </a:p>
        </p:txBody>
      </p:sp>
      <p:sp>
        <p:nvSpPr>
          <p:cNvPr id="25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5985433" y="1543050"/>
            <a:ext cx="2560108" cy="1316520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FontTx/>
              <a:buNone/>
              <a:defRPr sz="800">
                <a:solidFill>
                  <a:schemeClr val="accent5"/>
                </a:solidFill>
                <a:latin typeface="Lato" panose="020F0502020204030203" pitchFamily="34" charset="0"/>
              </a:defRPr>
            </a:lvl1pPr>
          </a:lstStyle>
          <a:p>
            <a:endParaRPr lang="en-US"/>
          </a:p>
        </p:txBody>
      </p:sp>
      <p:sp>
        <p:nvSpPr>
          <p:cNvPr id="27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593725" y="2965967"/>
            <a:ext cx="2560108" cy="1316520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FontTx/>
              <a:buNone/>
              <a:defRPr sz="800">
                <a:solidFill>
                  <a:schemeClr val="accent5"/>
                </a:solidFill>
                <a:latin typeface="Lato" panose="020F0502020204030203" pitchFamily="34" charset="0"/>
              </a:defRPr>
            </a:lvl1pPr>
          </a:lstStyle>
          <a:p>
            <a:endParaRPr lang="en-US"/>
          </a:p>
        </p:txBody>
      </p:sp>
      <p:sp>
        <p:nvSpPr>
          <p:cNvPr id="28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5985433" y="2965967"/>
            <a:ext cx="2560108" cy="1316520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FontTx/>
              <a:buNone/>
              <a:defRPr sz="800">
                <a:solidFill>
                  <a:schemeClr val="accent5"/>
                </a:solidFill>
                <a:latin typeface="Lato" panose="020F0502020204030203" pitchFamily="34" charset="0"/>
              </a:defRPr>
            </a:lvl1pPr>
          </a:lstStyle>
          <a:p>
            <a:endParaRPr lang="en-US"/>
          </a:p>
        </p:txBody>
      </p:sp>
      <p:sp>
        <p:nvSpPr>
          <p:cNvPr id="29" name="Picture Placeholder 2"/>
          <p:cNvSpPr>
            <a:spLocks noGrp="1"/>
          </p:cNvSpPr>
          <p:nvPr>
            <p:ph type="pic" sz="quarter" idx="17"/>
          </p:nvPr>
        </p:nvSpPr>
        <p:spPr>
          <a:xfrm>
            <a:off x="3291946" y="2965967"/>
            <a:ext cx="2560108" cy="1316520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FontTx/>
              <a:buNone/>
              <a:defRPr sz="800">
                <a:solidFill>
                  <a:schemeClr val="accent5"/>
                </a:solidFill>
                <a:latin typeface="Lato" panose="020F0502020204030203" pitchFamily="34" charset="0"/>
              </a:defRPr>
            </a:lvl1pPr>
          </a:lstStyle>
          <a:p>
            <a:endParaRPr lang="en-US"/>
          </a:p>
        </p:txBody>
      </p:sp>
      <p:pic>
        <p:nvPicPr>
          <p:cNvPr id="15" name="Imagem 14">
            <a:extLst>
              <a:ext uri="{FF2B5EF4-FFF2-40B4-BE49-F238E27FC236}">
                <a16:creationId xmlns:a16="http://schemas.microsoft.com/office/drawing/2014/main" id="{9A39571E-2F98-4461-9EC4-F6084731B78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7127" y="4373217"/>
            <a:ext cx="716873" cy="7702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14901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extLst>
    <p:ext uri="{DCECCB84-F9BA-43D5-87BE-67443E8EF086}">
      <p15:sldGuideLst xmlns:p15="http://schemas.microsoft.com/office/powerpoint/2012/main">
        <p15:guide id="1" orient="horz" pos="2700">
          <p15:clr>
            <a:srgbClr val="FBAE40"/>
          </p15:clr>
        </p15:guide>
        <p15:guide id="2" pos="5384">
          <p15:clr>
            <a:srgbClr val="FBAE40"/>
          </p15:clr>
        </p15:guide>
        <p15:guide id="3" pos="374">
          <p15:clr>
            <a:srgbClr val="FBAE40"/>
          </p15:clr>
        </p15:guide>
        <p15:guide id="4" orient="horz" pos="306">
          <p15:clr>
            <a:srgbClr val="FBAE40"/>
          </p15:clr>
        </p15:guide>
        <p15:guide id="5" orient="horz" pos="972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com 4 foto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584202" y="575841"/>
            <a:ext cx="7953374" cy="383260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200" b="0" cap="all" spc="50" baseline="0">
                <a:solidFill>
                  <a:schemeClr val="accent1"/>
                </a:solidFill>
                <a:latin typeface="Lato Black" panose="020F0A02020204030203" pitchFamily="34" charset="0"/>
                <a:ea typeface="Roboto" panose="02000000000000000000" pitchFamily="2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 dirty="0"/>
              <a:t>Clique para </a:t>
            </a:r>
            <a:r>
              <a:rPr lang="en-US" dirty="0" err="1"/>
              <a:t>editar</a:t>
            </a:r>
            <a:r>
              <a:rPr lang="en-US" dirty="0"/>
              <a:t> o </a:t>
            </a:r>
            <a:r>
              <a:rPr lang="en-US" dirty="0" err="1"/>
              <a:t>título</a:t>
            </a:r>
            <a:endParaRPr lang="en-US" dirty="0"/>
          </a:p>
        </p:txBody>
      </p:sp>
      <p:sp>
        <p:nvSpPr>
          <p:cNvPr id="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593725" y="959101"/>
            <a:ext cx="7953374" cy="141344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ts val="1200"/>
              </a:lnSpc>
              <a:spcBef>
                <a:spcPts val="0"/>
              </a:spcBef>
              <a:buNone/>
              <a:defRPr sz="900" b="0" cap="none" spc="0" baseline="0">
                <a:solidFill>
                  <a:schemeClr val="accent4"/>
                </a:solidFill>
                <a:latin typeface="Lato" panose="020F0502020204030203" pitchFamily="34" charset="0"/>
                <a:ea typeface="Roboto" panose="02000000000000000000" pitchFamily="2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 dirty="0"/>
              <a:t>Clique para </a:t>
            </a:r>
            <a:r>
              <a:rPr lang="en-US" dirty="0" err="1"/>
              <a:t>editar</a:t>
            </a:r>
            <a:r>
              <a:rPr lang="en-US" dirty="0"/>
              <a:t> o </a:t>
            </a:r>
            <a:r>
              <a:rPr lang="en-US" dirty="0" err="1"/>
              <a:t>subtítulo</a:t>
            </a:r>
            <a:endParaRPr lang="en-US" dirty="0"/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593725" y="492067"/>
            <a:ext cx="914400" cy="0"/>
          </a:xfrm>
          <a:prstGeom prst="line">
            <a:avLst/>
          </a:prstGeom>
          <a:ln w="28575">
            <a:solidFill>
              <a:srgbClr val="EC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593725" y="1543050"/>
            <a:ext cx="2560108" cy="2743200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FontTx/>
              <a:buNone/>
              <a:defRPr sz="800">
                <a:solidFill>
                  <a:schemeClr val="accent5"/>
                </a:solidFill>
                <a:latin typeface="Lato" panose="020F0502020204030203" pitchFamily="34" charset="0"/>
              </a:defRPr>
            </a:lvl1pPr>
          </a:lstStyle>
          <a:p>
            <a:endParaRPr lang="en-US"/>
          </a:p>
        </p:txBody>
      </p:sp>
      <p:sp>
        <p:nvSpPr>
          <p:cNvPr id="25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5985433" y="1543050"/>
            <a:ext cx="2560108" cy="1316520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FontTx/>
              <a:buNone/>
              <a:defRPr sz="800">
                <a:solidFill>
                  <a:schemeClr val="accent5"/>
                </a:solidFill>
                <a:latin typeface="Lato" panose="020F0502020204030203" pitchFamily="34" charset="0"/>
              </a:defRPr>
            </a:lvl1pPr>
          </a:lstStyle>
          <a:p>
            <a:endParaRPr lang="en-US"/>
          </a:p>
        </p:txBody>
      </p:sp>
      <p:sp>
        <p:nvSpPr>
          <p:cNvPr id="28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5985433" y="2965967"/>
            <a:ext cx="2560108" cy="1316520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FontTx/>
              <a:buNone/>
              <a:defRPr sz="800">
                <a:solidFill>
                  <a:schemeClr val="accent5"/>
                </a:solidFill>
                <a:latin typeface="Lato" panose="020F0502020204030203" pitchFamily="34" charset="0"/>
              </a:defRPr>
            </a:lvl1pPr>
          </a:lstStyle>
          <a:p>
            <a:endParaRPr lang="en-US"/>
          </a:p>
        </p:txBody>
      </p:sp>
      <p:sp>
        <p:nvSpPr>
          <p:cNvPr id="29" name="Picture Placeholder 2"/>
          <p:cNvSpPr>
            <a:spLocks noGrp="1"/>
          </p:cNvSpPr>
          <p:nvPr>
            <p:ph type="pic" sz="quarter" idx="17"/>
          </p:nvPr>
        </p:nvSpPr>
        <p:spPr>
          <a:xfrm>
            <a:off x="3291946" y="2965967"/>
            <a:ext cx="2560108" cy="1316520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FontTx/>
              <a:buNone/>
              <a:defRPr sz="800">
                <a:solidFill>
                  <a:schemeClr val="accent5"/>
                </a:solidFill>
                <a:latin typeface="Lato" panose="020F0502020204030203" pitchFamily="34" charset="0"/>
              </a:defRPr>
            </a:lvl1pPr>
          </a:lstStyle>
          <a:p>
            <a:endParaRPr lang="en-US"/>
          </a:p>
        </p:txBody>
      </p:sp>
      <p:pic>
        <p:nvPicPr>
          <p:cNvPr id="14" name="Imagem 13">
            <a:extLst>
              <a:ext uri="{FF2B5EF4-FFF2-40B4-BE49-F238E27FC236}">
                <a16:creationId xmlns:a16="http://schemas.microsoft.com/office/drawing/2014/main" id="{C6D01092-D705-405F-928F-D6ACA4300DD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7127" y="4373217"/>
            <a:ext cx="716873" cy="7702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716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extLst>
    <p:ext uri="{DCECCB84-F9BA-43D5-87BE-67443E8EF086}">
      <p15:sldGuideLst xmlns:p15="http://schemas.microsoft.com/office/powerpoint/2012/main">
        <p15:guide id="1" orient="horz" pos="2700">
          <p15:clr>
            <a:srgbClr val="FBAE40"/>
          </p15:clr>
        </p15:guide>
        <p15:guide id="2" pos="5384">
          <p15:clr>
            <a:srgbClr val="FBAE40"/>
          </p15:clr>
        </p15:guide>
        <p15:guide id="3" pos="374">
          <p15:clr>
            <a:srgbClr val="FBAE40"/>
          </p15:clr>
        </p15:guide>
        <p15:guide id="4" orient="horz" pos="306">
          <p15:clr>
            <a:srgbClr val="FBAE40"/>
          </p15:clr>
        </p15:guide>
        <p15:guide id="5" orient="horz" pos="972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com divisão de foto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593725" y="1543050"/>
            <a:ext cx="7953375" cy="27432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584202" y="575841"/>
            <a:ext cx="7953374" cy="383260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200" b="0" cap="all" spc="50" baseline="0">
                <a:solidFill>
                  <a:schemeClr val="accent1"/>
                </a:solidFill>
                <a:latin typeface="Lato Black" panose="020F0A02020204030203" pitchFamily="34" charset="0"/>
                <a:ea typeface="Roboto" panose="02000000000000000000" pitchFamily="2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 dirty="0"/>
              <a:t>Clique para </a:t>
            </a:r>
            <a:r>
              <a:rPr lang="en-US" dirty="0" err="1"/>
              <a:t>editar</a:t>
            </a:r>
            <a:r>
              <a:rPr lang="en-US" dirty="0"/>
              <a:t> o </a:t>
            </a:r>
            <a:r>
              <a:rPr lang="en-US" dirty="0" err="1"/>
              <a:t>título</a:t>
            </a:r>
            <a:endParaRPr lang="en-US" dirty="0"/>
          </a:p>
        </p:txBody>
      </p:sp>
      <p:sp>
        <p:nvSpPr>
          <p:cNvPr id="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593725" y="959101"/>
            <a:ext cx="7953374" cy="141344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ts val="1200"/>
              </a:lnSpc>
              <a:spcBef>
                <a:spcPts val="0"/>
              </a:spcBef>
              <a:buNone/>
              <a:defRPr sz="900" b="0" cap="none" spc="0" baseline="0">
                <a:solidFill>
                  <a:schemeClr val="accent4"/>
                </a:solidFill>
                <a:latin typeface="Lato" panose="020F0502020204030203" pitchFamily="34" charset="0"/>
                <a:ea typeface="Roboto" panose="02000000000000000000" pitchFamily="2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 dirty="0"/>
              <a:t>Clique para </a:t>
            </a:r>
            <a:r>
              <a:rPr lang="en-US" dirty="0" err="1"/>
              <a:t>editar</a:t>
            </a:r>
            <a:r>
              <a:rPr lang="en-US" dirty="0"/>
              <a:t> o </a:t>
            </a:r>
            <a:r>
              <a:rPr lang="en-US" dirty="0" err="1"/>
              <a:t>subtítulo</a:t>
            </a:r>
            <a:endParaRPr lang="en-US" dirty="0"/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593725" y="492067"/>
            <a:ext cx="914400" cy="0"/>
          </a:xfrm>
          <a:prstGeom prst="line">
            <a:avLst/>
          </a:prstGeom>
          <a:ln w="28575">
            <a:solidFill>
              <a:srgbClr val="EC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593725" y="1543050"/>
            <a:ext cx="3821113" cy="2743200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FontTx/>
              <a:buNone/>
              <a:defRPr sz="1000">
                <a:solidFill>
                  <a:schemeClr val="accent5"/>
                </a:solidFill>
                <a:latin typeface="Lato" panose="020F0502020204030203" pitchFamily="34" charset="0"/>
              </a:defRPr>
            </a:lvl1pPr>
          </a:lstStyle>
          <a:p>
            <a:endParaRPr lang="en-US"/>
          </a:p>
        </p:txBody>
      </p:sp>
      <p:pic>
        <p:nvPicPr>
          <p:cNvPr id="14" name="Imagem 13">
            <a:extLst>
              <a:ext uri="{FF2B5EF4-FFF2-40B4-BE49-F238E27FC236}">
                <a16:creationId xmlns:a16="http://schemas.microsoft.com/office/drawing/2014/main" id="{F34F6E55-9D75-4FDA-88B0-F3942CF1A5A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7127" y="4373217"/>
            <a:ext cx="716873" cy="7702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08716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extLst>
    <p:ext uri="{DCECCB84-F9BA-43D5-87BE-67443E8EF086}">
      <p15:sldGuideLst xmlns:p15="http://schemas.microsoft.com/office/powerpoint/2012/main">
        <p15:guide id="1" orient="horz" pos="2700">
          <p15:clr>
            <a:srgbClr val="FBAE40"/>
          </p15:clr>
        </p15:guide>
        <p15:guide id="2" pos="5384">
          <p15:clr>
            <a:srgbClr val="FBAE40"/>
          </p15:clr>
        </p15:guide>
        <p15:guide id="3" pos="374">
          <p15:clr>
            <a:srgbClr val="FBAE40"/>
          </p15:clr>
        </p15:guide>
        <p15:guide id="4" orient="horz" pos="306">
          <p15:clr>
            <a:srgbClr val="FBAE40"/>
          </p15:clr>
        </p15:guide>
        <p15:guide id="5" orient="horz" pos="972">
          <p15:clr>
            <a:srgbClr val="FBAE40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com 2 foto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Picture Placeholder 2"/>
          <p:cNvSpPr>
            <a:spLocks noGrp="1"/>
          </p:cNvSpPr>
          <p:nvPr>
            <p:ph type="pic" sz="quarter" idx="17"/>
          </p:nvPr>
        </p:nvSpPr>
        <p:spPr>
          <a:xfrm>
            <a:off x="1508125" y="1543049"/>
            <a:ext cx="2546117" cy="1408417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FontTx/>
              <a:buNone/>
              <a:defRPr sz="800">
                <a:solidFill>
                  <a:schemeClr val="accent5"/>
                </a:solidFill>
                <a:latin typeface="Lato" panose="020F0502020204030203" pitchFamily="34" charset="0"/>
              </a:defRPr>
            </a:lvl1pPr>
          </a:lstStyle>
          <a:p>
            <a:endParaRPr lang="en-US"/>
          </a:p>
        </p:txBody>
      </p:sp>
      <p:sp>
        <p:nvSpPr>
          <p:cNvPr id="18" name="Picture Placeholder 2"/>
          <p:cNvSpPr>
            <a:spLocks noGrp="1"/>
          </p:cNvSpPr>
          <p:nvPr>
            <p:ph type="pic" sz="quarter" idx="18"/>
          </p:nvPr>
        </p:nvSpPr>
        <p:spPr>
          <a:xfrm>
            <a:off x="5988464" y="1543049"/>
            <a:ext cx="2546117" cy="1408417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FontTx/>
              <a:buNone/>
              <a:defRPr sz="800">
                <a:solidFill>
                  <a:schemeClr val="accent5"/>
                </a:solidFill>
                <a:latin typeface="Lato" panose="020F0502020204030203" pitchFamily="34" charset="0"/>
              </a:defRPr>
            </a:lvl1pPr>
          </a:lstStyle>
          <a:p>
            <a:endParaRPr lang="en-US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584202" y="575841"/>
            <a:ext cx="7953374" cy="383260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200" b="0" cap="all" spc="50" baseline="0">
                <a:solidFill>
                  <a:schemeClr val="accent1"/>
                </a:solidFill>
                <a:latin typeface="Lato Black" panose="020F0A02020204030203" pitchFamily="34" charset="0"/>
                <a:ea typeface="Roboto" panose="02000000000000000000" pitchFamily="2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 dirty="0"/>
              <a:t>Clique para </a:t>
            </a:r>
            <a:r>
              <a:rPr lang="en-US" dirty="0" err="1"/>
              <a:t>editar</a:t>
            </a:r>
            <a:r>
              <a:rPr lang="en-US" dirty="0"/>
              <a:t> o </a:t>
            </a:r>
            <a:r>
              <a:rPr lang="en-US" dirty="0" err="1"/>
              <a:t>título</a:t>
            </a:r>
            <a:endParaRPr lang="en-US" dirty="0"/>
          </a:p>
        </p:txBody>
      </p:sp>
      <p:sp>
        <p:nvSpPr>
          <p:cNvPr id="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593725" y="959101"/>
            <a:ext cx="7953374" cy="141344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ts val="1200"/>
              </a:lnSpc>
              <a:spcBef>
                <a:spcPts val="0"/>
              </a:spcBef>
              <a:buNone/>
              <a:defRPr sz="900" b="0" cap="none" spc="0" baseline="0">
                <a:solidFill>
                  <a:schemeClr val="accent4"/>
                </a:solidFill>
                <a:latin typeface="Lato" panose="020F0502020204030203" pitchFamily="34" charset="0"/>
                <a:ea typeface="Roboto" panose="02000000000000000000" pitchFamily="2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 dirty="0"/>
              <a:t>Clique para </a:t>
            </a:r>
            <a:r>
              <a:rPr lang="en-US" dirty="0" err="1"/>
              <a:t>editar</a:t>
            </a:r>
            <a:r>
              <a:rPr lang="en-US" dirty="0"/>
              <a:t> o </a:t>
            </a:r>
            <a:r>
              <a:rPr lang="en-US" dirty="0" err="1"/>
              <a:t>subtítulo</a:t>
            </a:r>
            <a:endParaRPr lang="en-US" dirty="0"/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593725" y="492067"/>
            <a:ext cx="914400" cy="0"/>
          </a:xfrm>
          <a:prstGeom prst="line">
            <a:avLst/>
          </a:prstGeom>
          <a:ln w="28575">
            <a:solidFill>
              <a:srgbClr val="EC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Imagem 12">
            <a:extLst>
              <a:ext uri="{FF2B5EF4-FFF2-40B4-BE49-F238E27FC236}">
                <a16:creationId xmlns:a16="http://schemas.microsoft.com/office/drawing/2014/main" id="{4AB1F524-9DCE-4EE4-B237-3C476CA8157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7127" y="4373217"/>
            <a:ext cx="716873" cy="7702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72829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extLst>
    <p:ext uri="{DCECCB84-F9BA-43D5-87BE-67443E8EF086}">
      <p15:sldGuideLst xmlns:p15="http://schemas.microsoft.com/office/powerpoint/2012/main">
        <p15:guide id="1" orient="horz" pos="2700">
          <p15:clr>
            <a:srgbClr val="FBAE40"/>
          </p15:clr>
        </p15:guide>
        <p15:guide id="2" pos="5384">
          <p15:clr>
            <a:srgbClr val="FBAE40"/>
          </p15:clr>
        </p15:guide>
        <p15:guide id="3" pos="374">
          <p15:clr>
            <a:srgbClr val="FBAE40"/>
          </p15:clr>
        </p15:guide>
        <p15:guide id="4" orient="horz" pos="306">
          <p15:clr>
            <a:srgbClr val="FBAE40"/>
          </p15:clr>
        </p15:guide>
        <p15:guide id="5" orient="horz" pos="972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ckup iPhone fundo vermelh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EC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6535" y="1134684"/>
            <a:ext cx="2415741" cy="3528796"/>
          </a:xfrm>
          <a:prstGeom prst="rect">
            <a:avLst/>
          </a:prstGeom>
        </p:spPr>
      </p:pic>
      <p:sp>
        <p:nvSpPr>
          <p:cNvPr id="4" name="Picture Placeholder 25"/>
          <p:cNvSpPr>
            <a:spLocks noGrp="1"/>
          </p:cNvSpPr>
          <p:nvPr>
            <p:ph type="pic" sz="quarter" idx="14"/>
          </p:nvPr>
        </p:nvSpPr>
        <p:spPr>
          <a:xfrm>
            <a:off x="720840" y="1695550"/>
            <a:ext cx="1230200" cy="2232025"/>
          </a:xfrm>
          <a:custGeom>
            <a:avLst/>
            <a:gdLst>
              <a:gd name="connsiteX0" fmla="*/ 26656 w 4082023"/>
              <a:gd name="connsiteY0" fmla="*/ 0 h 7233920"/>
              <a:gd name="connsiteX1" fmla="*/ 4055367 w 4082023"/>
              <a:gd name="connsiteY1" fmla="*/ 0 h 7233920"/>
              <a:gd name="connsiteX2" fmla="*/ 4082023 w 4082023"/>
              <a:gd name="connsiteY2" fmla="*/ 26656 h 7233920"/>
              <a:gd name="connsiteX3" fmla="*/ 4082023 w 4082023"/>
              <a:gd name="connsiteY3" fmla="*/ 7207264 h 7233920"/>
              <a:gd name="connsiteX4" fmla="*/ 4055367 w 4082023"/>
              <a:gd name="connsiteY4" fmla="*/ 7233920 h 7233920"/>
              <a:gd name="connsiteX5" fmla="*/ 26656 w 4082023"/>
              <a:gd name="connsiteY5" fmla="*/ 7233920 h 7233920"/>
              <a:gd name="connsiteX6" fmla="*/ 0 w 4082023"/>
              <a:gd name="connsiteY6" fmla="*/ 7207264 h 7233920"/>
              <a:gd name="connsiteX7" fmla="*/ 0 w 4082023"/>
              <a:gd name="connsiteY7" fmla="*/ 26656 h 7233920"/>
              <a:gd name="connsiteX8" fmla="*/ 26656 w 4082023"/>
              <a:gd name="connsiteY8" fmla="*/ 0 h 72339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082023" h="7233920">
                <a:moveTo>
                  <a:pt x="26656" y="0"/>
                </a:moveTo>
                <a:lnTo>
                  <a:pt x="4055367" y="0"/>
                </a:lnTo>
                <a:cubicBezTo>
                  <a:pt x="4070091" y="0"/>
                  <a:pt x="4082023" y="11934"/>
                  <a:pt x="4082023" y="26656"/>
                </a:cubicBezTo>
                <a:lnTo>
                  <a:pt x="4082023" y="7207264"/>
                </a:lnTo>
                <a:cubicBezTo>
                  <a:pt x="4082023" y="7221986"/>
                  <a:pt x="4070091" y="7233920"/>
                  <a:pt x="4055367" y="7233920"/>
                </a:cubicBezTo>
                <a:lnTo>
                  <a:pt x="26656" y="7233920"/>
                </a:lnTo>
                <a:cubicBezTo>
                  <a:pt x="11934" y="7233920"/>
                  <a:pt x="0" y="7221986"/>
                  <a:pt x="0" y="7207264"/>
                </a:cubicBezTo>
                <a:lnTo>
                  <a:pt x="0" y="26656"/>
                </a:lnTo>
                <a:cubicBezTo>
                  <a:pt x="0" y="11934"/>
                  <a:pt x="11934" y="0"/>
                  <a:pt x="26656" y="0"/>
                </a:cubicBezTo>
                <a:close/>
              </a:path>
            </a:pathLst>
          </a:custGeom>
          <a:noFill/>
          <a:ln w="6350">
            <a:solidFill>
              <a:schemeClr val="accent1"/>
            </a:solidFill>
          </a:ln>
        </p:spPr>
        <p:txBody>
          <a:bodyPr wrap="square" lIns="0" tIns="0" rIns="0" bIns="0" anchor="ctr" anchorCtr="0">
            <a:noAutofit/>
          </a:bodyPr>
          <a:lstStyle>
            <a:lvl1pPr marL="0" indent="0" algn="ctr">
              <a:buFontTx/>
              <a:buNone/>
              <a:defRPr sz="800">
                <a:solidFill>
                  <a:schemeClr val="accent5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endParaRPr lang="en-US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584202" y="575841"/>
            <a:ext cx="7953374" cy="383260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200" b="0" cap="all" spc="50" baseline="0">
                <a:solidFill>
                  <a:schemeClr val="bg1"/>
                </a:solidFill>
                <a:latin typeface="Lato Black" panose="020F0A02020204030203" pitchFamily="34" charset="0"/>
                <a:ea typeface="Roboto" panose="02000000000000000000" pitchFamily="2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 dirty="0"/>
              <a:t>Clique para </a:t>
            </a:r>
            <a:r>
              <a:rPr lang="en-US" dirty="0" err="1"/>
              <a:t>editar</a:t>
            </a:r>
            <a:r>
              <a:rPr lang="en-US" dirty="0"/>
              <a:t> o </a:t>
            </a:r>
            <a:r>
              <a:rPr lang="en-US" dirty="0" err="1"/>
              <a:t>título</a:t>
            </a:r>
            <a:endParaRPr lang="en-US" dirty="0"/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593725" y="959101"/>
            <a:ext cx="7953374" cy="141344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ts val="1200"/>
              </a:lnSpc>
              <a:spcBef>
                <a:spcPts val="0"/>
              </a:spcBef>
              <a:buNone/>
              <a:defRPr sz="900" b="0" cap="none" spc="0" baseline="0">
                <a:solidFill>
                  <a:schemeClr val="bg1"/>
                </a:solidFill>
                <a:latin typeface="Lato" panose="020F0502020204030203" pitchFamily="34" charset="0"/>
                <a:ea typeface="Roboto" panose="02000000000000000000" pitchFamily="2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 dirty="0"/>
              <a:t>Clique para </a:t>
            </a:r>
            <a:r>
              <a:rPr lang="en-US" dirty="0" err="1"/>
              <a:t>editar</a:t>
            </a:r>
            <a:r>
              <a:rPr lang="en-US" dirty="0"/>
              <a:t> o </a:t>
            </a:r>
            <a:r>
              <a:rPr lang="en-US" dirty="0" err="1"/>
              <a:t>subtítulo</a:t>
            </a:r>
            <a:endParaRPr lang="en-US" dirty="0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593725" y="492067"/>
            <a:ext cx="914400" cy="0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37877" y="1134684"/>
            <a:ext cx="2415741" cy="3528796"/>
          </a:xfrm>
          <a:prstGeom prst="rect">
            <a:avLst/>
          </a:prstGeom>
        </p:spPr>
      </p:pic>
      <p:sp>
        <p:nvSpPr>
          <p:cNvPr id="15" name="Picture Placeholder 25"/>
          <p:cNvSpPr>
            <a:spLocks noGrp="1"/>
          </p:cNvSpPr>
          <p:nvPr>
            <p:ph type="pic" sz="quarter" idx="15"/>
          </p:nvPr>
        </p:nvSpPr>
        <p:spPr>
          <a:xfrm>
            <a:off x="5022182" y="1695550"/>
            <a:ext cx="1230200" cy="2232025"/>
          </a:xfrm>
          <a:custGeom>
            <a:avLst/>
            <a:gdLst>
              <a:gd name="connsiteX0" fmla="*/ 26656 w 4082023"/>
              <a:gd name="connsiteY0" fmla="*/ 0 h 7233920"/>
              <a:gd name="connsiteX1" fmla="*/ 4055367 w 4082023"/>
              <a:gd name="connsiteY1" fmla="*/ 0 h 7233920"/>
              <a:gd name="connsiteX2" fmla="*/ 4082023 w 4082023"/>
              <a:gd name="connsiteY2" fmla="*/ 26656 h 7233920"/>
              <a:gd name="connsiteX3" fmla="*/ 4082023 w 4082023"/>
              <a:gd name="connsiteY3" fmla="*/ 7207264 h 7233920"/>
              <a:gd name="connsiteX4" fmla="*/ 4055367 w 4082023"/>
              <a:gd name="connsiteY4" fmla="*/ 7233920 h 7233920"/>
              <a:gd name="connsiteX5" fmla="*/ 26656 w 4082023"/>
              <a:gd name="connsiteY5" fmla="*/ 7233920 h 7233920"/>
              <a:gd name="connsiteX6" fmla="*/ 0 w 4082023"/>
              <a:gd name="connsiteY6" fmla="*/ 7207264 h 7233920"/>
              <a:gd name="connsiteX7" fmla="*/ 0 w 4082023"/>
              <a:gd name="connsiteY7" fmla="*/ 26656 h 7233920"/>
              <a:gd name="connsiteX8" fmla="*/ 26656 w 4082023"/>
              <a:gd name="connsiteY8" fmla="*/ 0 h 72339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082023" h="7233920">
                <a:moveTo>
                  <a:pt x="26656" y="0"/>
                </a:moveTo>
                <a:lnTo>
                  <a:pt x="4055367" y="0"/>
                </a:lnTo>
                <a:cubicBezTo>
                  <a:pt x="4070091" y="0"/>
                  <a:pt x="4082023" y="11934"/>
                  <a:pt x="4082023" y="26656"/>
                </a:cubicBezTo>
                <a:lnTo>
                  <a:pt x="4082023" y="7207264"/>
                </a:lnTo>
                <a:cubicBezTo>
                  <a:pt x="4082023" y="7221986"/>
                  <a:pt x="4070091" y="7233920"/>
                  <a:pt x="4055367" y="7233920"/>
                </a:cubicBezTo>
                <a:lnTo>
                  <a:pt x="26656" y="7233920"/>
                </a:lnTo>
                <a:cubicBezTo>
                  <a:pt x="11934" y="7233920"/>
                  <a:pt x="0" y="7221986"/>
                  <a:pt x="0" y="7207264"/>
                </a:cubicBezTo>
                <a:lnTo>
                  <a:pt x="0" y="26656"/>
                </a:lnTo>
                <a:cubicBezTo>
                  <a:pt x="0" y="11934"/>
                  <a:pt x="11934" y="0"/>
                  <a:pt x="26656" y="0"/>
                </a:cubicBezTo>
                <a:close/>
              </a:path>
            </a:pathLst>
          </a:custGeom>
          <a:noFill/>
          <a:ln w="6350">
            <a:solidFill>
              <a:schemeClr val="accent1"/>
            </a:solidFill>
          </a:ln>
        </p:spPr>
        <p:txBody>
          <a:bodyPr wrap="square" lIns="0" tIns="0" rIns="0" bIns="0" anchor="ctr" anchorCtr="0">
            <a:noAutofit/>
          </a:bodyPr>
          <a:lstStyle>
            <a:lvl1pPr marL="0" indent="0" algn="ctr">
              <a:buFontTx/>
              <a:buNone/>
              <a:defRPr sz="800">
                <a:solidFill>
                  <a:schemeClr val="accent5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88548" y="1439120"/>
            <a:ext cx="2415741" cy="3528796"/>
          </a:xfrm>
          <a:prstGeom prst="rect">
            <a:avLst/>
          </a:prstGeom>
        </p:spPr>
      </p:pic>
      <p:sp>
        <p:nvSpPr>
          <p:cNvPr id="17" name="Picture Placeholder 25"/>
          <p:cNvSpPr>
            <a:spLocks noGrp="1"/>
          </p:cNvSpPr>
          <p:nvPr>
            <p:ph type="pic" sz="quarter" idx="16"/>
          </p:nvPr>
        </p:nvSpPr>
        <p:spPr>
          <a:xfrm>
            <a:off x="7172853" y="1999986"/>
            <a:ext cx="1230200" cy="2232025"/>
          </a:xfrm>
          <a:custGeom>
            <a:avLst/>
            <a:gdLst>
              <a:gd name="connsiteX0" fmla="*/ 26656 w 4082023"/>
              <a:gd name="connsiteY0" fmla="*/ 0 h 7233920"/>
              <a:gd name="connsiteX1" fmla="*/ 4055367 w 4082023"/>
              <a:gd name="connsiteY1" fmla="*/ 0 h 7233920"/>
              <a:gd name="connsiteX2" fmla="*/ 4082023 w 4082023"/>
              <a:gd name="connsiteY2" fmla="*/ 26656 h 7233920"/>
              <a:gd name="connsiteX3" fmla="*/ 4082023 w 4082023"/>
              <a:gd name="connsiteY3" fmla="*/ 7207264 h 7233920"/>
              <a:gd name="connsiteX4" fmla="*/ 4055367 w 4082023"/>
              <a:gd name="connsiteY4" fmla="*/ 7233920 h 7233920"/>
              <a:gd name="connsiteX5" fmla="*/ 26656 w 4082023"/>
              <a:gd name="connsiteY5" fmla="*/ 7233920 h 7233920"/>
              <a:gd name="connsiteX6" fmla="*/ 0 w 4082023"/>
              <a:gd name="connsiteY6" fmla="*/ 7207264 h 7233920"/>
              <a:gd name="connsiteX7" fmla="*/ 0 w 4082023"/>
              <a:gd name="connsiteY7" fmla="*/ 26656 h 7233920"/>
              <a:gd name="connsiteX8" fmla="*/ 26656 w 4082023"/>
              <a:gd name="connsiteY8" fmla="*/ 0 h 72339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082023" h="7233920">
                <a:moveTo>
                  <a:pt x="26656" y="0"/>
                </a:moveTo>
                <a:lnTo>
                  <a:pt x="4055367" y="0"/>
                </a:lnTo>
                <a:cubicBezTo>
                  <a:pt x="4070091" y="0"/>
                  <a:pt x="4082023" y="11934"/>
                  <a:pt x="4082023" y="26656"/>
                </a:cubicBezTo>
                <a:lnTo>
                  <a:pt x="4082023" y="7207264"/>
                </a:lnTo>
                <a:cubicBezTo>
                  <a:pt x="4082023" y="7221986"/>
                  <a:pt x="4070091" y="7233920"/>
                  <a:pt x="4055367" y="7233920"/>
                </a:cubicBezTo>
                <a:lnTo>
                  <a:pt x="26656" y="7233920"/>
                </a:lnTo>
                <a:cubicBezTo>
                  <a:pt x="11934" y="7233920"/>
                  <a:pt x="0" y="7221986"/>
                  <a:pt x="0" y="7207264"/>
                </a:cubicBezTo>
                <a:lnTo>
                  <a:pt x="0" y="26656"/>
                </a:lnTo>
                <a:cubicBezTo>
                  <a:pt x="0" y="11934"/>
                  <a:pt x="11934" y="0"/>
                  <a:pt x="26656" y="0"/>
                </a:cubicBezTo>
                <a:close/>
              </a:path>
            </a:pathLst>
          </a:custGeom>
          <a:noFill/>
          <a:ln w="6350">
            <a:solidFill>
              <a:schemeClr val="accent1"/>
            </a:solidFill>
          </a:ln>
        </p:spPr>
        <p:txBody>
          <a:bodyPr wrap="square" lIns="0" tIns="0" rIns="0" bIns="0" anchor="ctr" anchorCtr="0">
            <a:noAutofit/>
          </a:bodyPr>
          <a:lstStyle>
            <a:lvl1pPr marL="0" indent="0" algn="ctr">
              <a:buFontTx/>
              <a:buNone/>
              <a:defRPr sz="800">
                <a:solidFill>
                  <a:schemeClr val="accent5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87206" y="1439120"/>
            <a:ext cx="2415741" cy="3528796"/>
          </a:xfrm>
          <a:prstGeom prst="rect">
            <a:avLst/>
          </a:prstGeom>
        </p:spPr>
      </p:pic>
      <p:sp>
        <p:nvSpPr>
          <p:cNvPr id="19" name="Picture Placeholder 25"/>
          <p:cNvSpPr>
            <a:spLocks noGrp="1"/>
          </p:cNvSpPr>
          <p:nvPr>
            <p:ph type="pic" sz="quarter" idx="17"/>
          </p:nvPr>
        </p:nvSpPr>
        <p:spPr>
          <a:xfrm>
            <a:off x="2871511" y="1999986"/>
            <a:ext cx="1230200" cy="2232025"/>
          </a:xfrm>
          <a:custGeom>
            <a:avLst/>
            <a:gdLst>
              <a:gd name="connsiteX0" fmla="*/ 26656 w 4082023"/>
              <a:gd name="connsiteY0" fmla="*/ 0 h 7233920"/>
              <a:gd name="connsiteX1" fmla="*/ 4055367 w 4082023"/>
              <a:gd name="connsiteY1" fmla="*/ 0 h 7233920"/>
              <a:gd name="connsiteX2" fmla="*/ 4082023 w 4082023"/>
              <a:gd name="connsiteY2" fmla="*/ 26656 h 7233920"/>
              <a:gd name="connsiteX3" fmla="*/ 4082023 w 4082023"/>
              <a:gd name="connsiteY3" fmla="*/ 7207264 h 7233920"/>
              <a:gd name="connsiteX4" fmla="*/ 4055367 w 4082023"/>
              <a:gd name="connsiteY4" fmla="*/ 7233920 h 7233920"/>
              <a:gd name="connsiteX5" fmla="*/ 26656 w 4082023"/>
              <a:gd name="connsiteY5" fmla="*/ 7233920 h 7233920"/>
              <a:gd name="connsiteX6" fmla="*/ 0 w 4082023"/>
              <a:gd name="connsiteY6" fmla="*/ 7207264 h 7233920"/>
              <a:gd name="connsiteX7" fmla="*/ 0 w 4082023"/>
              <a:gd name="connsiteY7" fmla="*/ 26656 h 7233920"/>
              <a:gd name="connsiteX8" fmla="*/ 26656 w 4082023"/>
              <a:gd name="connsiteY8" fmla="*/ 0 h 72339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082023" h="7233920">
                <a:moveTo>
                  <a:pt x="26656" y="0"/>
                </a:moveTo>
                <a:lnTo>
                  <a:pt x="4055367" y="0"/>
                </a:lnTo>
                <a:cubicBezTo>
                  <a:pt x="4070091" y="0"/>
                  <a:pt x="4082023" y="11934"/>
                  <a:pt x="4082023" y="26656"/>
                </a:cubicBezTo>
                <a:lnTo>
                  <a:pt x="4082023" y="7207264"/>
                </a:lnTo>
                <a:cubicBezTo>
                  <a:pt x="4082023" y="7221986"/>
                  <a:pt x="4070091" y="7233920"/>
                  <a:pt x="4055367" y="7233920"/>
                </a:cubicBezTo>
                <a:lnTo>
                  <a:pt x="26656" y="7233920"/>
                </a:lnTo>
                <a:cubicBezTo>
                  <a:pt x="11934" y="7233920"/>
                  <a:pt x="0" y="7221986"/>
                  <a:pt x="0" y="7207264"/>
                </a:cubicBezTo>
                <a:lnTo>
                  <a:pt x="0" y="26656"/>
                </a:lnTo>
                <a:cubicBezTo>
                  <a:pt x="0" y="11934"/>
                  <a:pt x="11934" y="0"/>
                  <a:pt x="26656" y="0"/>
                </a:cubicBezTo>
                <a:close/>
              </a:path>
            </a:pathLst>
          </a:custGeom>
          <a:noFill/>
          <a:ln w="6350">
            <a:solidFill>
              <a:schemeClr val="accent1"/>
            </a:solidFill>
          </a:ln>
        </p:spPr>
        <p:txBody>
          <a:bodyPr wrap="square" lIns="0" tIns="0" rIns="0" bIns="0" anchor="ctr" anchorCtr="0">
            <a:noAutofit/>
          </a:bodyPr>
          <a:lstStyle>
            <a:lvl1pPr marL="0" indent="0" algn="ctr">
              <a:buFontTx/>
              <a:buNone/>
              <a:defRPr sz="800">
                <a:solidFill>
                  <a:schemeClr val="accent5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endParaRPr lang="en-US"/>
          </a:p>
        </p:txBody>
      </p:sp>
      <p:pic>
        <p:nvPicPr>
          <p:cNvPr id="20" name="Imagem 19">
            <a:extLst>
              <a:ext uri="{FF2B5EF4-FFF2-40B4-BE49-F238E27FC236}">
                <a16:creationId xmlns:a16="http://schemas.microsoft.com/office/drawing/2014/main" id="{BC652AC2-CA0C-4009-8B31-1785A15C1D5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7126" y="4373217"/>
            <a:ext cx="716873" cy="7702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83922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extLst>
    <p:ext uri="{DCECCB84-F9BA-43D5-87BE-67443E8EF086}">
      <p15:sldGuideLst xmlns:p15="http://schemas.microsoft.com/office/powerpoint/2012/main">
        <p15:guide id="1" orient="horz" pos="2934">
          <p15:clr>
            <a:srgbClr val="FBAE40"/>
          </p15:clr>
        </p15:guide>
        <p15:guide id="2" pos="5384">
          <p15:clr>
            <a:srgbClr val="FBAE40"/>
          </p15:clr>
        </p15:guide>
        <p15:guide id="3" pos="374">
          <p15:clr>
            <a:srgbClr val="FBAE40"/>
          </p15:clr>
        </p15:guide>
        <p15:guide id="4" orient="horz" pos="306">
          <p15:clr>
            <a:srgbClr val="FBAE40"/>
          </p15:clr>
        </p15:guide>
        <p15:guide id="5" orient="horz" pos="972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ckup iPhone fundo vermelh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20"/>
          <p:cNvSpPr/>
          <p:nvPr userDrawn="1"/>
        </p:nvSpPr>
        <p:spPr>
          <a:xfrm>
            <a:off x="595314" y="1857487"/>
            <a:ext cx="7953374" cy="2026872"/>
          </a:xfrm>
          <a:prstGeom prst="rect">
            <a:avLst/>
          </a:prstGeom>
          <a:solidFill>
            <a:srgbClr val="EC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584202" y="575841"/>
            <a:ext cx="7953374" cy="383260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200" b="0" cap="all" spc="50" baseline="0">
                <a:solidFill>
                  <a:schemeClr val="accent1"/>
                </a:solidFill>
                <a:latin typeface="Lato Black" panose="020F0A02020204030203" pitchFamily="34" charset="0"/>
                <a:ea typeface="Roboto" panose="02000000000000000000" pitchFamily="2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 dirty="0"/>
              <a:t>Clique para </a:t>
            </a:r>
            <a:r>
              <a:rPr lang="en-US" dirty="0" err="1"/>
              <a:t>editar</a:t>
            </a:r>
            <a:r>
              <a:rPr lang="en-US" dirty="0"/>
              <a:t> o </a:t>
            </a:r>
            <a:r>
              <a:rPr lang="en-US" dirty="0" err="1"/>
              <a:t>título</a:t>
            </a:r>
            <a:endParaRPr lang="en-US" dirty="0"/>
          </a:p>
        </p:txBody>
      </p:sp>
      <p:sp>
        <p:nvSpPr>
          <p:cNvPr id="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593725" y="959101"/>
            <a:ext cx="7953374" cy="141344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ts val="1200"/>
              </a:lnSpc>
              <a:spcBef>
                <a:spcPts val="0"/>
              </a:spcBef>
              <a:buNone/>
              <a:defRPr sz="900" b="0" cap="none" spc="0" baseline="0">
                <a:solidFill>
                  <a:schemeClr val="accent4"/>
                </a:solidFill>
                <a:latin typeface="Lato" panose="020F0502020204030203" pitchFamily="34" charset="0"/>
                <a:ea typeface="Roboto" panose="02000000000000000000" pitchFamily="2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 dirty="0"/>
              <a:t>Clique para </a:t>
            </a:r>
            <a:r>
              <a:rPr lang="en-US" dirty="0" err="1"/>
              <a:t>editar</a:t>
            </a:r>
            <a:r>
              <a:rPr lang="en-US" dirty="0"/>
              <a:t> o </a:t>
            </a:r>
            <a:r>
              <a:rPr lang="en-US" dirty="0" err="1"/>
              <a:t>subtítulo</a:t>
            </a:r>
            <a:endParaRPr lang="en-US" dirty="0"/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593725" y="492067"/>
            <a:ext cx="914400" cy="0"/>
          </a:xfrm>
          <a:prstGeom prst="line">
            <a:avLst/>
          </a:prstGeom>
          <a:ln w="28575">
            <a:solidFill>
              <a:srgbClr val="EC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64129" y="1194045"/>
            <a:ext cx="2415741" cy="3528796"/>
          </a:xfrm>
          <a:prstGeom prst="rect">
            <a:avLst/>
          </a:prstGeom>
        </p:spPr>
      </p:pic>
      <p:sp>
        <p:nvSpPr>
          <p:cNvPr id="18" name="Picture Placeholder 25"/>
          <p:cNvSpPr>
            <a:spLocks noGrp="1"/>
          </p:cNvSpPr>
          <p:nvPr>
            <p:ph type="pic" sz="quarter" idx="18"/>
          </p:nvPr>
        </p:nvSpPr>
        <p:spPr>
          <a:xfrm>
            <a:off x="3961343" y="1754911"/>
            <a:ext cx="1204382" cy="2232025"/>
          </a:xfrm>
          <a:custGeom>
            <a:avLst/>
            <a:gdLst>
              <a:gd name="connsiteX0" fmla="*/ 26656 w 4082023"/>
              <a:gd name="connsiteY0" fmla="*/ 0 h 7233920"/>
              <a:gd name="connsiteX1" fmla="*/ 4055367 w 4082023"/>
              <a:gd name="connsiteY1" fmla="*/ 0 h 7233920"/>
              <a:gd name="connsiteX2" fmla="*/ 4082023 w 4082023"/>
              <a:gd name="connsiteY2" fmla="*/ 26656 h 7233920"/>
              <a:gd name="connsiteX3" fmla="*/ 4082023 w 4082023"/>
              <a:gd name="connsiteY3" fmla="*/ 7207264 h 7233920"/>
              <a:gd name="connsiteX4" fmla="*/ 4055367 w 4082023"/>
              <a:gd name="connsiteY4" fmla="*/ 7233920 h 7233920"/>
              <a:gd name="connsiteX5" fmla="*/ 26656 w 4082023"/>
              <a:gd name="connsiteY5" fmla="*/ 7233920 h 7233920"/>
              <a:gd name="connsiteX6" fmla="*/ 0 w 4082023"/>
              <a:gd name="connsiteY6" fmla="*/ 7207264 h 7233920"/>
              <a:gd name="connsiteX7" fmla="*/ 0 w 4082023"/>
              <a:gd name="connsiteY7" fmla="*/ 26656 h 7233920"/>
              <a:gd name="connsiteX8" fmla="*/ 26656 w 4082023"/>
              <a:gd name="connsiteY8" fmla="*/ 0 h 72339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082023" h="7233920">
                <a:moveTo>
                  <a:pt x="26656" y="0"/>
                </a:moveTo>
                <a:lnTo>
                  <a:pt x="4055367" y="0"/>
                </a:lnTo>
                <a:cubicBezTo>
                  <a:pt x="4070091" y="0"/>
                  <a:pt x="4082023" y="11934"/>
                  <a:pt x="4082023" y="26656"/>
                </a:cubicBezTo>
                <a:lnTo>
                  <a:pt x="4082023" y="7207264"/>
                </a:lnTo>
                <a:cubicBezTo>
                  <a:pt x="4082023" y="7221986"/>
                  <a:pt x="4070091" y="7233920"/>
                  <a:pt x="4055367" y="7233920"/>
                </a:cubicBezTo>
                <a:lnTo>
                  <a:pt x="26656" y="7233920"/>
                </a:lnTo>
                <a:cubicBezTo>
                  <a:pt x="11934" y="7233920"/>
                  <a:pt x="0" y="7221986"/>
                  <a:pt x="0" y="7207264"/>
                </a:cubicBezTo>
                <a:lnTo>
                  <a:pt x="0" y="26656"/>
                </a:lnTo>
                <a:cubicBezTo>
                  <a:pt x="0" y="11934"/>
                  <a:pt x="11934" y="0"/>
                  <a:pt x="26656" y="0"/>
                </a:cubicBezTo>
                <a:close/>
              </a:path>
            </a:pathLst>
          </a:custGeom>
          <a:noFill/>
          <a:ln w="6350">
            <a:solidFill>
              <a:schemeClr val="accent1"/>
            </a:solidFill>
          </a:ln>
        </p:spPr>
        <p:txBody>
          <a:bodyPr wrap="square" lIns="0" tIns="0" rIns="0" bIns="0" anchor="ctr" anchorCtr="0">
            <a:noAutofit/>
          </a:bodyPr>
          <a:lstStyle>
            <a:lvl1pPr marL="0" indent="0" algn="ctr">
              <a:buFontTx/>
              <a:buNone/>
              <a:defRPr sz="800">
                <a:solidFill>
                  <a:schemeClr val="accent5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3" name="Imagem 12">
            <a:extLst>
              <a:ext uri="{FF2B5EF4-FFF2-40B4-BE49-F238E27FC236}">
                <a16:creationId xmlns:a16="http://schemas.microsoft.com/office/drawing/2014/main" id="{52EE209A-39C6-4153-B412-BD57CC13281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7127" y="4373217"/>
            <a:ext cx="716873" cy="7702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85357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extLst>
    <p:ext uri="{DCECCB84-F9BA-43D5-87BE-67443E8EF086}">
      <p15:sldGuideLst xmlns:p15="http://schemas.microsoft.com/office/powerpoint/2012/main">
        <p15:guide id="1" orient="horz" pos="2700">
          <p15:clr>
            <a:srgbClr val="FBAE40"/>
          </p15:clr>
        </p15:guide>
        <p15:guide id="2" pos="5384">
          <p15:clr>
            <a:srgbClr val="FBAE40"/>
          </p15:clr>
        </p15:guide>
        <p15:guide id="3" pos="374">
          <p15:clr>
            <a:srgbClr val="FBAE40"/>
          </p15:clr>
        </p15:guide>
        <p15:guide id="4" orient="horz" pos="306">
          <p15:clr>
            <a:srgbClr val="FBAE40"/>
          </p15:clr>
        </p15:guide>
        <p15:guide id="5" orient="horz" pos="972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ckup iPhone fundo vermelho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20"/>
          <p:cNvSpPr/>
          <p:nvPr userDrawn="1"/>
        </p:nvSpPr>
        <p:spPr>
          <a:xfrm>
            <a:off x="595314" y="1543050"/>
            <a:ext cx="7953374" cy="963482"/>
          </a:xfrm>
          <a:prstGeom prst="rect">
            <a:avLst/>
          </a:prstGeom>
          <a:solidFill>
            <a:srgbClr val="EC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584202" y="575841"/>
            <a:ext cx="7953374" cy="383260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200" b="0" cap="all" spc="50" baseline="0">
                <a:solidFill>
                  <a:schemeClr val="accent1"/>
                </a:solidFill>
                <a:latin typeface="Lato Black" panose="020F0A02020204030203" pitchFamily="34" charset="0"/>
                <a:ea typeface="Roboto" panose="02000000000000000000" pitchFamily="2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 dirty="0"/>
              <a:t>Clique para </a:t>
            </a:r>
            <a:r>
              <a:rPr lang="en-US" dirty="0" err="1"/>
              <a:t>editar</a:t>
            </a:r>
            <a:r>
              <a:rPr lang="en-US" dirty="0"/>
              <a:t> o </a:t>
            </a:r>
            <a:r>
              <a:rPr lang="en-US" dirty="0" err="1"/>
              <a:t>título</a:t>
            </a:r>
            <a:endParaRPr lang="en-US" dirty="0"/>
          </a:p>
        </p:txBody>
      </p:sp>
      <p:sp>
        <p:nvSpPr>
          <p:cNvPr id="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593725" y="959101"/>
            <a:ext cx="7953374" cy="141344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ts val="1200"/>
              </a:lnSpc>
              <a:spcBef>
                <a:spcPts val="0"/>
              </a:spcBef>
              <a:buNone/>
              <a:defRPr sz="900" b="0" cap="none" spc="0" baseline="0">
                <a:solidFill>
                  <a:schemeClr val="accent4"/>
                </a:solidFill>
                <a:latin typeface="Lato" panose="020F0502020204030203" pitchFamily="34" charset="0"/>
                <a:ea typeface="Roboto" panose="02000000000000000000" pitchFamily="2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 dirty="0"/>
              <a:t>Clique para </a:t>
            </a:r>
            <a:r>
              <a:rPr lang="en-US" dirty="0" err="1"/>
              <a:t>editar</a:t>
            </a:r>
            <a:r>
              <a:rPr lang="en-US" dirty="0"/>
              <a:t> o </a:t>
            </a:r>
            <a:r>
              <a:rPr lang="en-US" dirty="0" err="1"/>
              <a:t>subtítulo</a:t>
            </a:r>
            <a:endParaRPr lang="en-US" dirty="0"/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593725" y="492067"/>
            <a:ext cx="914400" cy="0"/>
          </a:xfrm>
          <a:prstGeom prst="line">
            <a:avLst/>
          </a:prstGeom>
          <a:ln w="28575">
            <a:solidFill>
              <a:srgbClr val="EC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33706" y="1142482"/>
            <a:ext cx="2415741" cy="3528796"/>
          </a:xfrm>
          <a:prstGeom prst="rect">
            <a:avLst/>
          </a:prstGeom>
        </p:spPr>
      </p:pic>
      <p:sp>
        <p:nvSpPr>
          <p:cNvPr id="14" name="Picture Placeholder 25"/>
          <p:cNvSpPr>
            <a:spLocks noGrp="1"/>
          </p:cNvSpPr>
          <p:nvPr>
            <p:ph type="pic" sz="quarter" idx="17"/>
          </p:nvPr>
        </p:nvSpPr>
        <p:spPr>
          <a:xfrm>
            <a:off x="5118011" y="1703348"/>
            <a:ext cx="1230200" cy="2232025"/>
          </a:xfrm>
          <a:custGeom>
            <a:avLst/>
            <a:gdLst>
              <a:gd name="connsiteX0" fmla="*/ 26656 w 4082023"/>
              <a:gd name="connsiteY0" fmla="*/ 0 h 7233920"/>
              <a:gd name="connsiteX1" fmla="*/ 4055367 w 4082023"/>
              <a:gd name="connsiteY1" fmla="*/ 0 h 7233920"/>
              <a:gd name="connsiteX2" fmla="*/ 4082023 w 4082023"/>
              <a:gd name="connsiteY2" fmla="*/ 26656 h 7233920"/>
              <a:gd name="connsiteX3" fmla="*/ 4082023 w 4082023"/>
              <a:gd name="connsiteY3" fmla="*/ 7207264 h 7233920"/>
              <a:gd name="connsiteX4" fmla="*/ 4055367 w 4082023"/>
              <a:gd name="connsiteY4" fmla="*/ 7233920 h 7233920"/>
              <a:gd name="connsiteX5" fmla="*/ 26656 w 4082023"/>
              <a:gd name="connsiteY5" fmla="*/ 7233920 h 7233920"/>
              <a:gd name="connsiteX6" fmla="*/ 0 w 4082023"/>
              <a:gd name="connsiteY6" fmla="*/ 7207264 h 7233920"/>
              <a:gd name="connsiteX7" fmla="*/ 0 w 4082023"/>
              <a:gd name="connsiteY7" fmla="*/ 26656 h 7233920"/>
              <a:gd name="connsiteX8" fmla="*/ 26656 w 4082023"/>
              <a:gd name="connsiteY8" fmla="*/ 0 h 72339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082023" h="7233920">
                <a:moveTo>
                  <a:pt x="26656" y="0"/>
                </a:moveTo>
                <a:lnTo>
                  <a:pt x="4055367" y="0"/>
                </a:lnTo>
                <a:cubicBezTo>
                  <a:pt x="4070091" y="0"/>
                  <a:pt x="4082023" y="11934"/>
                  <a:pt x="4082023" y="26656"/>
                </a:cubicBezTo>
                <a:lnTo>
                  <a:pt x="4082023" y="7207264"/>
                </a:lnTo>
                <a:cubicBezTo>
                  <a:pt x="4082023" y="7221986"/>
                  <a:pt x="4070091" y="7233920"/>
                  <a:pt x="4055367" y="7233920"/>
                </a:cubicBezTo>
                <a:lnTo>
                  <a:pt x="26656" y="7233920"/>
                </a:lnTo>
                <a:cubicBezTo>
                  <a:pt x="11934" y="7233920"/>
                  <a:pt x="0" y="7221986"/>
                  <a:pt x="0" y="7207264"/>
                </a:cubicBezTo>
                <a:lnTo>
                  <a:pt x="0" y="26656"/>
                </a:lnTo>
                <a:cubicBezTo>
                  <a:pt x="0" y="11934"/>
                  <a:pt x="11934" y="0"/>
                  <a:pt x="26656" y="0"/>
                </a:cubicBezTo>
                <a:close/>
              </a:path>
            </a:pathLst>
          </a:custGeom>
          <a:noFill/>
          <a:ln w="6350">
            <a:solidFill>
              <a:schemeClr val="accent1"/>
            </a:solidFill>
          </a:ln>
        </p:spPr>
        <p:txBody>
          <a:bodyPr wrap="square" lIns="0" tIns="0" rIns="0" bIns="0" anchor="ctr" anchorCtr="0">
            <a:noAutofit/>
          </a:bodyPr>
          <a:lstStyle>
            <a:lvl1pPr marL="0" indent="0" algn="ctr">
              <a:buFontTx/>
              <a:buNone/>
              <a:defRPr sz="800">
                <a:solidFill>
                  <a:schemeClr val="accent5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66263" y="1142482"/>
            <a:ext cx="2415741" cy="3528796"/>
          </a:xfrm>
          <a:prstGeom prst="rect">
            <a:avLst/>
          </a:prstGeom>
        </p:spPr>
      </p:pic>
      <p:sp>
        <p:nvSpPr>
          <p:cNvPr id="18" name="Picture Placeholder 25"/>
          <p:cNvSpPr>
            <a:spLocks noGrp="1"/>
          </p:cNvSpPr>
          <p:nvPr>
            <p:ph type="pic" sz="quarter" idx="18"/>
          </p:nvPr>
        </p:nvSpPr>
        <p:spPr>
          <a:xfrm>
            <a:off x="6750568" y="1703348"/>
            <a:ext cx="1230200" cy="2232025"/>
          </a:xfrm>
          <a:custGeom>
            <a:avLst/>
            <a:gdLst>
              <a:gd name="connsiteX0" fmla="*/ 26656 w 4082023"/>
              <a:gd name="connsiteY0" fmla="*/ 0 h 7233920"/>
              <a:gd name="connsiteX1" fmla="*/ 4055367 w 4082023"/>
              <a:gd name="connsiteY1" fmla="*/ 0 h 7233920"/>
              <a:gd name="connsiteX2" fmla="*/ 4082023 w 4082023"/>
              <a:gd name="connsiteY2" fmla="*/ 26656 h 7233920"/>
              <a:gd name="connsiteX3" fmla="*/ 4082023 w 4082023"/>
              <a:gd name="connsiteY3" fmla="*/ 7207264 h 7233920"/>
              <a:gd name="connsiteX4" fmla="*/ 4055367 w 4082023"/>
              <a:gd name="connsiteY4" fmla="*/ 7233920 h 7233920"/>
              <a:gd name="connsiteX5" fmla="*/ 26656 w 4082023"/>
              <a:gd name="connsiteY5" fmla="*/ 7233920 h 7233920"/>
              <a:gd name="connsiteX6" fmla="*/ 0 w 4082023"/>
              <a:gd name="connsiteY6" fmla="*/ 7207264 h 7233920"/>
              <a:gd name="connsiteX7" fmla="*/ 0 w 4082023"/>
              <a:gd name="connsiteY7" fmla="*/ 26656 h 7233920"/>
              <a:gd name="connsiteX8" fmla="*/ 26656 w 4082023"/>
              <a:gd name="connsiteY8" fmla="*/ 0 h 72339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082023" h="7233920">
                <a:moveTo>
                  <a:pt x="26656" y="0"/>
                </a:moveTo>
                <a:lnTo>
                  <a:pt x="4055367" y="0"/>
                </a:lnTo>
                <a:cubicBezTo>
                  <a:pt x="4070091" y="0"/>
                  <a:pt x="4082023" y="11934"/>
                  <a:pt x="4082023" y="26656"/>
                </a:cubicBezTo>
                <a:lnTo>
                  <a:pt x="4082023" y="7207264"/>
                </a:lnTo>
                <a:cubicBezTo>
                  <a:pt x="4082023" y="7221986"/>
                  <a:pt x="4070091" y="7233920"/>
                  <a:pt x="4055367" y="7233920"/>
                </a:cubicBezTo>
                <a:lnTo>
                  <a:pt x="26656" y="7233920"/>
                </a:lnTo>
                <a:cubicBezTo>
                  <a:pt x="11934" y="7233920"/>
                  <a:pt x="0" y="7221986"/>
                  <a:pt x="0" y="7207264"/>
                </a:cubicBezTo>
                <a:lnTo>
                  <a:pt x="0" y="26656"/>
                </a:lnTo>
                <a:cubicBezTo>
                  <a:pt x="0" y="11934"/>
                  <a:pt x="11934" y="0"/>
                  <a:pt x="26656" y="0"/>
                </a:cubicBezTo>
                <a:close/>
              </a:path>
            </a:pathLst>
          </a:custGeom>
          <a:noFill/>
          <a:ln w="6350">
            <a:solidFill>
              <a:schemeClr val="accent1"/>
            </a:solidFill>
          </a:ln>
        </p:spPr>
        <p:txBody>
          <a:bodyPr wrap="square" lIns="0" tIns="0" rIns="0" bIns="0" anchor="ctr" anchorCtr="0">
            <a:noAutofit/>
          </a:bodyPr>
          <a:lstStyle>
            <a:lvl1pPr marL="0" indent="0" algn="ctr">
              <a:buFontTx/>
              <a:buNone/>
              <a:defRPr sz="800">
                <a:solidFill>
                  <a:schemeClr val="accent5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9" name="Imagem 18">
            <a:extLst>
              <a:ext uri="{FF2B5EF4-FFF2-40B4-BE49-F238E27FC236}">
                <a16:creationId xmlns:a16="http://schemas.microsoft.com/office/drawing/2014/main" id="{C8C81356-6A91-4D54-A932-3D8DD43F63E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7127" y="4373217"/>
            <a:ext cx="716873" cy="7702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79211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extLst>
    <p:ext uri="{DCECCB84-F9BA-43D5-87BE-67443E8EF086}">
      <p15:sldGuideLst xmlns:p15="http://schemas.microsoft.com/office/powerpoint/2012/main">
        <p15:guide id="1" orient="horz" pos="2700">
          <p15:clr>
            <a:srgbClr val="FBAE40"/>
          </p15:clr>
        </p15:guide>
        <p15:guide id="2" pos="5384">
          <p15:clr>
            <a:srgbClr val="FBAE40"/>
          </p15:clr>
        </p15:guide>
        <p15:guide id="3" pos="374">
          <p15:clr>
            <a:srgbClr val="FBAE40"/>
          </p15:clr>
        </p15:guide>
        <p15:guide id="4" orient="horz" pos="306">
          <p15:clr>
            <a:srgbClr val="FBAE40"/>
          </p15:clr>
        </p15:guide>
        <p15:guide id="5" orient="horz" pos="972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ckup iPhone fundo branc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584202" y="575841"/>
            <a:ext cx="7953374" cy="383260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200" b="0" cap="all" spc="50" baseline="0">
                <a:solidFill>
                  <a:schemeClr val="accent1"/>
                </a:solidFill>
                <a:latin typeface="Lato Black" panose="020F0A02020204030203" pitchFamily="34" charset="0"/>
                <a:ea typeface="Roboto" panose="02000000000000000000" pitchFamily="2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 dirty="0"/>
              <a:t>Clique para </a:t>
            </a:r>
            <a:r>
              <a:rPr lang="en-US" dirty="0" err="1"/>
              <a:t>editar</a:t>
            </a:r>
            <a:r>
              <a:rPr lang="en-US" dirty="0"/>
              <a:t> o </a:t>
            </a:r>
            <a:r>
              <a:rPr lang="en-US" dirty="0" err="1"/>
              <a:t>título</a:t>
            </a:r>
            <a:endParaRPr lang="en-US" dirty="0"/>
          </a:p>
        </p:txBody>
      </p:sp>
      <p:sp>
        <p:nvSpPr>
          <p:cNvPr id="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593725" y="959101"/>
            <a:ext cx="7953374" cy="141344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ts val="1200"/>
              </a:lnSpc>
              <a:spcBef>
                <a:spcPts val="0"/>
              </a:spcBef>
              <a:buNone/>
              <a:defRPr sz="900" b="0" cap="none" spc="0" baseline="0">
                <a:solidFill>
                  <a:schemeClr val="accent4"/>
                </a:solidFill>
                <a:latin typeface="Lato" panose="020F0502020204030203" pitchFamily="34" charset="0"/>
                <a:ea typeface="Roboto" panose="02000000000000000000" pitchFamily="2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 dirty="0"/>
              <a:t>Clique para </a:t>
            </a:r>
            <a:r>
              <a:rPr lang="en-US" dirty="0" err="1"/>
              <a:t>editar</a:t>
            </a:r>
            <a:r>
              <a:rPr lang="en-US" dirty="0"/>
              <a:t> o </a:t>
            </a:r>
            <a:r>
              <a:rPr lang="en-US" dirty="0" err="1"/>
              <a:t>subtítulo</a:t>
            </a:r>
            <a:endParaRPr lang="en-US" dirty="0"/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593725" y="492067"/>
            <a:ext cx="914400" cy="0"/>
          </a:xfrm>
          <a:prstGeom prst="line">
            <a:avLst/>
          </a:prstGeom>
          <a:ln w="28575">
            <a:solidFill>
              <a:srgbClr val="EC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71766" y="1194045"/>
            <a:ext cx="2415741" cy="3528796"/>
          </a:xfrm>
          <a:prstGeom prst="rect">
            <a:avLst/>
          </a:prstGeom>
        </p:spPr>
      </p:pic>
      <p:sp>
        <p:nvSpPr>
          <p:cNvPr id="14" name="Picture Placeholder 25"/>
          <p:cNvSpPr>
            <a:spLocks noGrp="1"/>
          </p:cNvSpPr>
          <p:nvPr>
            <p:ph type="pic" sz="quarter" idx="17"/>
          </p:nvPr>
        </p:nvSpPr>
        <p:spPr>
          <a:xfrm>
            <a:off x="2156071" y="1754911"/>
            <a:ext cx="1230200" cy="2232025"/>
          </a:xfrm>
          <a:custGeom>
            <a:avLst/>
            <a:gdLst>
              <a:gd name="connsiteX0" fmla="*/ 26656 w 4082023"/>
              <a:gd name="connsiteY0" fmla="*/ 0 h 7233920"/>
              <a:gd name="connsiteX1" fmla="*/ 4055367 w 4082023"/>
              <a:gd name="connsiteY1" fmla="*/ 0 h 7233920"/>
              <a:gd name="connsiteX2" fmla="*/ 4082023 w 4082023"/>
              <a:gd name="connsiteY2" fmla="*/ 26656 h 7233920"/>
              <a:gd name="connsiteX3" fmla="*/ 4082023 w 4082023"/>
              <a:gd name="connsiteY3" fmla="*/ 7207264 h 7233920"/>
              <a:gd name="connsiteX4" fmla="*/ 4055367 w 4082023"/>
              <a:gd name="connsiteY4" fmla="*/ 7233920 h 7233920"/>
              <a:gd name="connsiteX5" fmla="*/ 26656 w 4082023"/>
              <a:gd name="connsiteY5" fmla="*/ 7233920 h 7233920"/>
              <a:gd name="connsiteX6" fmla="*/ 0 w 4082023"/>
              <a:gd name="connsiteY6" fmla="*/ 7207264 h 7233920"/>
              <a:gd name="connsiteX7" fmla="*/ 0 w 4082023"/>
              <a:gd name="connsiteY7" fmla="*/ 26656 h 7233920"/>
              <a:gd name="connsiteX8" fmla="*/ 26656 w 4082023"/>
              <a:gd name="connsiteY8" fmla="*/ 0 h 72339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082023" h="7233920">
                <a:moveTo>
                  <a:pt x="26656" y="0"/>
                </a:moveTo>
                <a:lnTo>
                  <a:pt x="4055367" y="0"/>
                </a:lnTo>
                <a:cubicBezTo>
                  <a:pt x="4070091" y="0"/>
                  <a:pt x="4082023" y="11934"/>
                  <a:pt x="4082023" y="26656"/>
                </a:cubicBezTo>
                <a:lnTo>
                  <a:pt x="4082023" y="7207264"/>
                </a:lnTo>
                <a:cubicBezTo>
                  <a:pt x="4082023" y="7221986"/>
                  <a:pt x="4070091" y="7233920"/>
                  <a:pt x="4055367" y="7233920"/>
                </a:cubicBezTo>
                <a:lnTo>
                  <a:pt x="26656" y="7233920"/>
                </a:lnTo>
                <a:cubicBezTo>
                  <a:pt x="11934" y="7233920"/>
                  <a:pt x="0" y="7221986"/>
                  <a:pt x="0" y="7207264"/>
                </a:cubicBezTo>
                <a:lnTo>
                  <a:pt x="0" y="26656"/>
                </a:lnTo>
                <a:cubicBezTo>
                  <a:pt x="0" y="11934"/>
                  <a:pt x="11934" y="0"/>
                  <a:pt x="26656" y="0"/>
                </a:cubicBezTo>
                <a:close/>
              </a:path>
            </a:pathLst>
          </a:custGeom>
          <a:noFill/>
          <a:ln w="6350">
            <a:solidFill>
              <a:schemeClr val="accent1"/>
            </a:solidFill>
          </a:ln>
        </p:spPr>
        <p:txBody>
          <a:bodyPr wrap="square" lIns="0" tIns="0" rIns="0" bIns="0" anchor="ctr" anchorCtr="0">
            <a:noAutofit/>
          </a:bodyPr>
          <a:lstStyle>
            <a:lvl1pPr marL="0" indent="0" algn="ctr">
              <a:buFontTx/>
              <a:buNone/>
              <a:defRPr sz="800">
                <a:solidFill>
                  <a:schemeClr val="accent5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04323" y="1194045"/>
            <a:ext cx="2415741" cy="3528796"/>
          </a:xfrm>
          <a:prstGeom prst="rect">
            <a:avLst/>
          </a:prstGeom>
        </p:spPr>
      </p:pic>
      <p:sp>
        <p:nvSpPr>
          <p:cNvPr id="18" name="Picture Placeholder 25"/>
          <p:cNvSpPr>
            <a:spLocks noGrp="1"/>
          </p:cNvSpPr>
          <p:nvPr>
            <p:ph type="pic" sz="quarter" idx="18"/>
          </p:nvPr>
        </p:nvSpPr>
        <p:spPr>
          <a:xfrm>
            <a:off x="3788628" y="1754911"/>
            <a:ext cx="1230200" cy="2232025"/>
          </a:xfrm>
          <a:custGeom>
            <a:avLst/>
            <a:gdLst>
              <a:gd name="connsiteX0" fmla="*/ 26656 w 4082023"/>
              <a:gd name="connsiteY0" fmla="*/ 0 h 7233920"/>
              <a:gd name="connsiteX1" fmla="*/ 4055367 w 4082023"/>
              <a:gd name="connsiteY1" fmla="*/ 0 h 7233920"/>
              <a:gd name="connsiteX2" fmla="*/ 4082023 w 4082023"/>
              <a:gd name="connsiteY2" fmla="*/ 26656 h 7233920"/>
              <a:gd name="connsiteX3" fmla="*/ 4082023 w 4082023"/>
              <a:gd name="connsiteY3" fmla="*/ 7207264 h 7233920"/>
              <a:gd name="connsiteX4" fmla="*/ 4055367 w 4082023"/>
              <a:gd name="connsiteY4" fmla="*/ 7233920 h 7233920"/>
              <a:gd name="connsiteX5" fmla="*/ 26656 w 4082023"/>
              <a:gd name="connsiteY5" fmla="*/ 7233920 h 7233920"/>
              <a:gd name="connsiteX6" fmla="*/ 0 w 4082023"/>
              <a:gd name="connsiteY6" fmla="*/ 7207264 h 7233920"/>
              <a:gd name="connsiteX7" fmla="*/ 0 w 4082023"/>
              <a:gd name="connsiteY7" fmla="*/ 26656 h 7233920"/>
              <a:gd name="connsiteX8" fmla="*/ 26656 w 4082023"/>
              <a:gd name="connsiteY8" fmla="*/ 0 h 72339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082023" h="7233920">
                <a:moveTo>
                  <a:pt x="26656" y="0"/>
                </a:moveTo>
                <a:lnTo>
                  <a:pt x="4055367" y="0"/>
                </a:lnTo>
                <a:cubicBezTo>
                  <a:pt x="4070091" y="0"/>
                  <a:pt x="4082023" y="11934"/>
                  <a:pt x="4082023" y="26656"/>
                </a:cubicBezTo>
                <a:lnTo>
                  <a:pt x="4082023" y="7207264"/>
                </a:lnTo>
                <a:cubicBezTo>
                  <a:pt x="4082023" y="7221986"/>
                  <a:pt x="4070091" y="7233920"/>
                  <a:pt x="4055367" y="7233920"/>
                </a:cubicBezTo>
                <a:lnTo>
                  <a:pt x="26656" y="7233920"/>
                </a:lnTo>
                <a:cubicBezTo>
                  <a:pt x="11934" y="7233920"/>
                  <a:pt x="0" y="7221986"/>
                  <a:pt x="0" y="7207264"/>
                </a:cubicBezTo>
                <a:lnTo>
                  <a:pt x="0" y="26656"/>
                </a:lnTo>
                <a:cubicBezTo>
                  <a:pt x="0" y="11934"/>
                  <a:pt x="11934" y="0"/>
                  <a:pt x="26656" y="0"/>
                </a:cubicBezTo>
                <a:close/>
              </a:path>
            </a:pathLst>
          </a:custGeom>
          <a:noFill/>
          <a:ln w="6350">
            <a:solidFill>
              <a:schemeClr val="accent1"/>
            </a:solidFill>
          </a:ln>
        </p:spPr>
        <p:txBody>
          <a:bodyPr wrap="square" lIns="0" tIns="0" rIns="0" bIns="0" anchor="ctr" anchorCtr="0">
            <a:noAutofit/>
          </a:bodyPr>
          <a:lstStyle>
            <a:lvl1pPr marL="0" indent="0" algn="ctr">
              <a:buFontTx/>
              <a:buNone/>
              <a:defRPr sz="800">
                <a:solidFill>
                  <a:schemeClr val="accent5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53811" y="1194045"/>
            <a:ext cx="2415741" cy="3528796"/>
          </a:xfrm>
          <a:prstGeom prst="rect">
            <a:avLst/>
          </a:prstGeom>
        </p:spPr>
      </p:pic>
      <p:sp>
        <p:nvSpPr>
          <p:cNvPr id="20" name="Picture Placeholder 25"/>
          <p:cNvSpPr>
            <a:spLocks noGrp="1"/>
          </p:cNvSpPr>
          <p:nvPr>
            <p:ph type="pic" sz="quarter" idx="19"/>
          </p:nvPr>
        </p:nvSpPr>
        <p:spPr>
          <a:xfrm>
            <a:off x="5438116" y="1754911"/>
            <a:ext cx="1230200" cy="2232025"/>
          </a:xfrm>
          <a:custGeom>
            <a:avLst/>
            <a:gdLst>
              <a:gd name="connsiteX0" fmla="*/ 26656 w 4082023"/>
              <a:gd name="connsiteY0" fmla="*/ 0 h 7233920"/>
              <a:gd name="connsiteX1" fmla="*/ 4055367 w 4082023"/>
              <a:gd name="connsiteY1" fmla="*/ 0 h 7233920"/>
              <a:gd name="connsiteX2" fmla="*/ 4082023 w 4082023"/>
              <a:gd name="connsiteY2" fmla="*/ 26656 h 7233920"/>
              <a:gd name="connsiteX3" fmla="*/ 4082023 w 4082023"/>
              <a:gd name="connsiteY3" fmla="*/ 7207264 h 7233920"/>
              <a:gd name="connsiteX4" fmla="*/ 4055367 w 4082023"/>
              <a:gd name="connsiteY4" fmla="*/ 7233920 h 7233920"/>
              <a:gd name="connsiteX5" fmla="*/ 26656 w 4082023"/>
              <a:gd name="connsiteY5" fmla="*/ 7233920 h 7233920"/>
              <a:gd name="connsiteX6" fmla="*/ 0 w 4082023"/>
              <a:gd name="connsiteY6" fmla="*/ 7207264 h 7233920"/>
              <a:gd name="connsiteX7" fmla="*/ 0 w 4082023"/>
              <a:gd name="connsiteY7" fmla="*/ 26656 h 7233920"/>
              <a:gd name="connsiteX8" fmla="*/ 26656 w 4082023"/>
              <a:gd name="connsiteY8" fmla="*/ 0 h 72339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082023" h="7233920">
                <a:moveTo>
                  <a:pt x="26656" y="0"/>
                </a:moveTo>
                <a:lnTo>
                  <a:pt x="4055367" y="0"/>
                </a:lnTo>
                <a:cubicBezTo>
                  <a:pt x="4070091" y="0"/>
                  <a:pt x="4082023" y="11934"/>
                  <a:pt x="4082023" y="26656"/>
                </a:cubicBezTo>
                <a:lnTo>
                  <a:pt x="4082023" y="7207264"/>
                </a:lnTo>
                <a:cubicBezTo>
                  <a:pt x="4082023" y="7221986"/>
                  <a:pt x="4070091" y="7233920"/>
                  <a:pt x="4055367" y="7233920"/>
                </a:cubicBezTo>
                <a:lnTo>
                  <a:pt x="26656" y="7233920"/>
                </a:lnTo>
                <a:cubicBezTo>
                  <a:pt x="11934" y="7233920"/>
                  <a:pt x="0" y="7221986"/>
                  <a:pt x="0" y="7207264"/>
                </a:cubicBezTo>
                <a:lnTo>
                  <a:pt x="0" y="26656"/>
                </a:lnTo>
                <a:cubicBezTo>
                  <a:pt x="0" y="11934"/>
                  <a:pt x="11934" y="0"/>
                  <a:pt x="26656" y="0"/>
                </a:cubicBezTo>
                <a:close/>
              </a:path>
            </a:pathLst>
          </a:custGeom>
          <a:noFill/>
          <a:ln w="6350">
            <a:solidFill>
              <a:schemeClr val="accent1"/>
            </a:solidFill>
          </a:ln>
        </p:spPr>
        <p:txBody>
          <a:bodyPr wrap="square" lIns="0" tIns="0" rIns="0" bIns="0" anchor="ctr" anchorCtr="0">
            <a:noAutofit/>
          </a:bodyPr>
          <a:lstStyle>
            <a:lvl1pPr marL="0" indent="0" algn="ctr">
              <a:buFontTx/>
              <a:buNone/>
              <a:defRPr sz="800">
                <a:solidFill>
                  <a:schemeClr val="accent5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endParaRPr lang="en-US"/>
          </a:p>
        </p:txBody>
      </p:sp>
      <p:pic>
        <p:nvPicPr>
          <p:cNvPr id="21" name="Imagem 20">
            <a:extLst>
              <a:ext uri="{FF2B5EF4-FFF2-40B4-BE49-F238E27FC236}">
                <a16:creationId xmlns:a16="http://schemas.microsoft.com/office/drawing/2014/main" id="{34AF7096-8286-42D0-9039-E3AE08A1F70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7127" y="4373217"/>
            <a:ext cx="716873" cy="7702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20594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extLst>
    <p:ext uri="{DCECCB84-F9BA-43D5-87BE-67443E8EF086}">
      <p15:sldGuideLst xmlns:p15="http://schemas.microsoft.com/office/powerpoint/2012/main">
        <p15:guide id="1" orient="horz" pos="2700">
          <p15:clr>
            <a:srgbClr val="FBAE40"/>
          </p15:clr>
        </p15:guide>
        <p15:guide id="2" pos="5384">
          <p15:clr>
            <a:srgbClr val="FBAE40"/>
          </p15:clr>
        </p15:guide>
        <p15:guide id="3" pos="374">
          <p15:clr>
            <a:srgbClr val="FBAE40"/>
          </p15:clr>
        </p15:guide>
        <p15:guide id="4" orient="horz" pos="306">
          <p15:clr>
            <a:srgbClr val="FBAE40"/>
          </p15:clr>
        </p15:guide>
        <p15:guide id="5" orient="horz" pos="972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ckup iPhone fundo branco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Picture 28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90362" y="1100444"/>
            <a:ext cx="2918752" cy="4043055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584202" y="575841"/>
            <a:ext cx="7953374" cy="383260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200" b="0" cap="all" spc="50" baseline="0">
                <a:solidFill>
                  <a:schemeClr val="accent1"/>
                </a:solidFill>
                <a:latin typeface="Lato Black" panose="020F0A02020204030203" pitchFamily="34" charset="0"/>
                <a:ea typeface="Roboto" panose="02000000000000000000" pitchFamily="2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 dirty="0"/>
              <a:t>Clique para </a:t>
            </a:r>
            <a:r>
              <a:rPr lang="en-US" dirty="0" err="1"/>
              <a:t>editar</a:t>
            </a:r>
            <a:r>
              <a:rPr lang="en-US" dirty="0"/>
              <a:t> o </a:t>
            </a:r>
            <a:r>
              <a:rPr lang="en-US" dirty="0" err="1"/>
              <a:t>título</a:t>
            </a:r>
            <a:endParaRPr lang="en-US" dirty="0"/>
          </a:p>
        </p:txBody>
      </p:sp>
      <p:sp>
        <p:nvSpPr>
          <p:cNvPr id="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593725" y="959101"/>
            <a:ext cx="7953374" cy="141344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ts val="1200"/>
              </a:lnSpc>
              <a:spcBef>
                <a:spcPts val="0"/>
              </a:spcBef>
              <a:buNone/>
              <a:defRPr sz="900" b="0" cap="none" spc="0" baseline="0">
                <a:solidFill>
                  <a:schemeClr val="accent4"/>
                </a:solidFill>
                <a:latin typeface="Lato" panose="020F0502020204030203" pitchFamily="34" charset="0"/>
                <a:ea typeface="Roboto" panose="02000000000000000000" pitchFamily="2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 dirty="0"/>
              <a:t>Clique para </a:t>
            </a:r>
            <a:r>
              <a:rPr lang="en-US" dirty="0" err="1"/>
              <a:t>editar</a:t>
            </a:r>
            <a:r>
              <a:rPr lang="en-US" dirty="0"/>
              <a:t> o </a:t>
            </a:r>
            <a:r>
              <a:rPr lang="en-US" dirty="0" err="1"/>
              <a:t>subtítulo</a:t>
            </a:r>
            <a:endParaRPr lang="en-US" dirty="0"/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593725" y="492067"/>
            <a:ext cx="914400" cy="0"/>
          </a:xfrm>
          <a:prstGeom prst="line">
            <a:avLst/>
          </a:prstGeom>
          <a:ln w="28575">
            <a:solidFill>
              <a:srgbClr val="EC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Picture Placeholder 25"/>
          <p:cNvSpPr>
            <a:spLocks noGrp="1"/>
          </p:cNvSpPr>
          <p:nvPr>
            <p:ph type="pic" sz="quarter" idx="17"/>
          </p:nvPr>
        </p:nvSpPr>
        <p:spPr>
          <a:xfrm>
            <a:off x="5278966" y="1689100"/>
            <a:ext cx="2209799" cy="3454399"/>
          </a:xfrm>
          <a:custGeom>
            <a:avLst/>
            <a:gdLst>
              <a:gd name="connsiteX0" fmla="*/ 26656 w 4082023"/>
              <a:gd name="connsiteY0" fmla="*/ 0 h 7233920"/>
              <a:gd name="connsiteX1" fmla="*/ 4055367 w 4082023"/>
              <a:gd name="connsiteY1" fmla="*/ 0 h 7233920"/>
              <a:gd name="connsiteX2" fmla="*/ 4082023 w 4082023"/>
              <a:gd name="connsiteY2" fmla="*/ 26656 h 7233920"/>
              <a:gd name="connsiteX3" fmla="*/ 4082023 w 4082023"/>
              <a:gd name="connsiteY3" fmla="*/ 7207264 h 7233920"/>
              <a:gd name="connsiteX4" fmla="*/ 4055367 w 4082023"/>
              <a:gd name="connsiteY4" fmla="*/ 7233920 h 7233920"/>
              <a:gd name="connsiteX5" fmla="*/ 26656 w 4082023"/>
              <a:gd name="connsiteY5" fmla="*/ 7233920 h 7233920"/>
              <a:gd name="connsiteX6" fmla="*/ 0 w 4082023"/>
              <a:gd name="connsiteY6" fmla="*/ 7207264 h 7233920"/>
              <a:gd name="connsiteX7" fmla="*/ 0 w 4082023"/>
              <a:gd name="connsiteY7" fmla="*/ 26656 h 7233920"/>
              <a:gd name="connsiteX8" fmla="*/ 26656 w 4082023"/>
              <a:gd name="connsiteY8" fmla="*/ 0 h 72339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082023" h="7233920">
                <a:moveTo>
                  <a:pt x="26656" y="0"/>
                </a:moveTo>
                <a:lnTo>
                  <a:pt x="4055367" y="0"/>
                </a:lnTo>
                <a:cubicBezTo>
                  <a:pt x="4070091" y="0"/>
                  <a:pt x="4082023" y="11934"/>
                  <a:pt x="4082023" y="26656"/>
                </a:cubicBezTo>
                <a:lnTo>
                  <a:pt x="4082023" y="7207264"/>
                </a:lnTo>
                <a:cubicBezTo>
                  <a:pt x="4082023" y="7221986"/>
                  <a:pt x="4070091" y="7233920"/>
                  <a:pt x="4055367" y="7233920"/>
                </a:cubicBezTo>
                <a:lnTo>
                  <a:pt x="26656" y="7233920"/>
                </a:lnTo>
                <a:cubicBezTo>
                  <a:pt x="11934" y="7233920"/>
                  <a:pt x="0" y="7221986"/>
                  <a:pt x="0" y="7207264"/>
                </a:cubicBezTo>
                <a:lnTo>
                  <a:pt x="0" y="26656"/>
                </a:lnTo>
                <a:cubicBezTo>
                  <a:pt x="0" y="11934"/>
                  <a:pt x="11934" y="0"/>
                  <a:pt x="26656" y="0"/>
                </a:cubicBezTo>
                <a:close/>
              </a:path>
            </a:pathLst>
          </a:custGeom>
          <a:noFill/>
          <a:ln w="6350">
            <a:solidFill>
              <a:schemeClr val="accent1"/>
            </a:solidFill>
          </a:ln>
        </p:spPr>
        <p:txBody>
          <a:bodyPr wrap="square" lIns="0" tIns="0" rIns="0" bIns="0" anchor="ctr" anchorCtr="0">
            <a:noAutofit/>
          </a:bodyPr>
          <a:lstStyle>
            <a:lvl1pPr marL="0" indent="0" algn="ctr">
              <a:buFontTx/>
              <a:buNone/>
              <a:defRPr sz="800">
                <a:solidFill>
                  <a:schemeClr val="accent5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1" name="Imagem 10">
            <a:extLst>
              <a:ext uri="{FF2B5EF4-FFF2-40B4-BE49-F238E27FC236}">
                <a16:creationId xmlns:a16="http://schemas.microsoft.com/office/drawing/2014/main" id="{B4D3E290-753A-4EAC-B71D-DDFFAA6CB73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7127" y="4373217"/>
            <a:ext cx="716873" cy="7702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18904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extLst>
    <p:ext uri="{DCECCB84-F9BA-43D5-87BE-67443E8EF086}">
      <p15:sldGuideLst xmlns:p15="http://schemas.microsoft.com/office/powerpoint/2012/main">
        <p15:guide id="1" orient="horz" pos="2700">
          <p15:clr>
            <a:srgbClr val="FBAE40"/>
          </p15:clr>
        </p15:guide>
        <p15:guide id="2" pos="5384">
          <p15:clr>
            <a:srgbClr val="FBAE40"/>
          </p15:clr>
        </p15:guide>
        <p15:guide id="3" pos="374">
          <p15:clr>
            <a:srgbClr val="FBAE40"/>
          </p15:clr>
        </p15:guide>
        <p15:guide id="4" orient="horz" pos="306">
          <p15:clr>
            <a:srgbClr val="FBAE40"/>
          </p15:clr>
        </p15:guide>
        <p15:guide id="5" orient="horz" pos="972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ckup iPhone fundo branco 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88" y="185298"/>
            <a:ext cx="3129491" cy="4571407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3242733" y="575841"/>
            <a:ext cx="5294843" cy="383260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200" b="0" cap="all" spc="50" baseline="0">
                <a:solidFill>
                  <a:schemeClr val="accent1"/>
                </a:solidFill>
                <a:latin typeface="Lato Black" panose="020F0A02020204030203" pitchFamily="34" charset="0"/>
                <a:ea typeface="Roboto" panose="02000000000000000000" pitchFamily="2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 dirty="0"/>
              <a:t>Clique para </a:t>
            </a:r>
            <a:r>
              <a:rPr lang="en-US" dirty="0" err="1"/>
              <a:t>editar</a:t>
            </a:r>
            <a:r>
              <a:rPr lang="en-US" dirty="0"/>
              <a:t> o </a:t>
            </a:r>
            <a:r>
              <a:rPr lang="en-US" dirty="0" err="1"/>
              <a:t>título</a:t>
            </a:r>
            <a:endParaRPr lang="en-US" dirty="0"/>
          </a:p>
        </p:txBody>
      </p:sp>
      <p:sp>
        <p:nvSpPr>
          <p:cNvPr id="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242416" y="959101"/>
            <a:ext cx="5304684" cy="141344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ts val="1200"/>
              </a:lnSpc>
              <a:spcBef>
                <a:spcPts val="0"/>
              </a:spcBef>
              <a:buNone/>
              <a:defRPr sz="900" b="0" cap="none" spc="0" baseline="0">
                <a:solidFill>
                  <a:schemeClr val="accent4"/>
                </a:solidFill>
                <a:latin typeface="Lato" panose="020F0502020204030203" pitchFamily="34" charset="0"/>
                <a:ea typeface="Roboto" panose="02000000000000000000" pitchFamily="2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 dirty="0"/>
              <a:t>Clique para </a:t>
            </a:r>
            <a:r>
              <a:rPr lang="en-US" dirty="0" err="1"/>
              <a:t>editar</a:t>
            </a:r>
            <a:r>
              <a:rPr lang="en-US" dirty="0"/>
              <a:t> o </a:t>
            </a:r>
            <a:r>
              <a:rPr lang="en-US" dirty="0" err="1"/>
              <a:t>subtítulo</a:t>
            </a:r>
            <a:endParaRPr lang="en-US" dirty="0"/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3242416" y="492067"/>
            <a:ext cx="914400" cy="0"/>
          </a:xfrm>
          <a:prstGeom prst="line">
            <a:avLst/>
          </a:prstGeom>
          <a:ln w="28575">
            <a:solidFill>
              <a:srgbClr val="EC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Picture Placeholder 25"/>
          <p:cNvSpPr>
            <a:spLocks noGrp="1"/>
          </p:cNvSpPr>
          <p:nvPr>
            <p:ph type="pic" sz="quarter" idx="17"/>
          </p:nvPr>
        </p:nvSpPr>
        <p:spPr>
          <a:xfrm>
            <a:off x="800011" y="912452"/>
            <a:ext cx="1552896" cy="2917902"/>
          </a:xfrm>
          <a:custGeom>
            <a:avLst/>
            <a:gdLst>
              <a:gd name="connsiteX0" fmla="*/ 26656 w 4082023"/>
              <a:gd name="connsiteY0" fmla="*/ 0 h 7233920"/>
              <a:gd name="connsiteX1" fmla="*/ 4055367 w 4082023"/>
              <a:gd name="connsiteY1" fmla="*/ 0 h 7233920"/>
              <a:gd name="connsiteX2" fmla="*/ 4082023 w 4082023"/>
              <a:gd name="connsiteY2" fmla="*/ 26656 h 7233920"/>
              <a:gd name="connsiteX3" fmla="*/ 4082023 w 4082023"/>
              <a:gd name="connsiteY3" fmla="*/ 7207264 h 7233920"/>
              <a:gd name="connsiteX4" fmla="*/ 4055367 w 4082023"/>
              <a:gd name="connsiteY4" fmla="*/ 7233920 h 7233920"/>
              <a:gd name="connsiteX5" fmla="*/ 26656 w 4082023"/>
              <a:gd name="connsiteY5" fmla="*/ 7233920 h 7233920"/>
              <a:gd name="connsiteX6" fmla="*/ 0 w 4082023"/>
              <a:gd name="connsiteY6" fmla="*/ 7207264 h 7233920"/>
              <a:gd name="connsiteX7" fmla="*/ 0 w 4082023"/>
              <a:gd name="connsiteY7" fmla="*/ 26656 h 7233920"/>
              <a:gd name="connsiteX8" fmla="*/ 26656 w 4082023"/>
              <a:gd name="connsiteY8" fmla="*/ 0 h 72339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082023" h="7233920">
                <a:moveTo>
                  <a:pt x="26656" y="0"/>
                </a:moveTo>
                <a:lnTo>
                  <a:pt x="4055367" y="0"/>
                </a:lnTo>
                <a:cubicBezTo>
                  <a:pt x="4070091" y="0"/>
                  <a:pt x="4082023" y="11934"/>
                  <a:pt x="4082023" y="26656"/>
                </a:cubicBezTo>
                <a:lnTo>
                  <a:pt x="4082023" y="7207264"/>
                </a:lnTo>
                <a:cubicBezTo>
                  <a:pt x="4082023" y="7221986"/>
                  <a:pt x="4070091" y="7233920"/>
                  <a:pt x="4055367" y="7233920"/>
                </a:cubicBezTo>
                <a:lnTo>
                  <a:pt x="26656" y="7233920"/>
                </a:lnTo>
                <a:cubicBezTo>
                  <a:pt x="11934" y="7233920"/>
                  <a:pt x="0" y="7221986"/>
                  <a:pt x="0" y="7207264"/>
                </a:cubicBezTo>
                <a:lnTo>
                  <a:pt x="0" y="26656"/>
                </a:lnTo>
                <a:cubicBezTo>
                  <a:pt x="0" y="11934"/>
                  <a:pt x="11934" y="0"/>
                  <a:pt x="26656" y="0"/>
                </a:cubicBezTo>
                <a:close/>
              </a:path>
            </a:pathLst>
          </a:custGeom>
          <a:noFill/>
          <a:ln w="6350">
            <a:solidFill>
              <a:schemeClr val="accent1"/>
            </a:solidFill>
          </a:ln>
        </p:spPr>
        <p:txBody>
          <a:bodyPr wrap="square" lIns="0" tIns="0" rIns="0" bIns="0" anchor="ctr" anchorCtr="0">
            <a:noAutofit/>
          </a:bodyPr>
          <a:lstStyle>
            <a:lvl1pPr marL="0" indent="0" algn="ctr">
              <a:buFontTx/>
              <a:buNone/>
              <a:defRPr sz="800">
                <a:solidFill>
                  <a:schemeClr val="accent5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2" name="Imagem 11">
            <a:extLst>
              <a:ext uri="{FF2B5EF4-FFF2-40B4-BE49-F238E27FC236}">
                <a16:creationId xmlns:a16="http://schemas.microsoft.com/office/drawing/2014/main" id="{DDEDB86E-3636-444C-8775-501D1C3AB7D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7127" y="4373217"/>
            <a:ext cx="716873" cy="7702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57424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extLst>
    <p:ext uri="{DCECCB84-F9BA-43D5-87BE-67443E8EF086}">
      <p15:sldGuideLst xmlns:p15="http://schemas.microsoft.com/office/powerpoint/2012/main">
        <p15:guide id="1" orient="horz" pos="2700">
          <p15:clr>
            <a:srgbClr val="FBAE40"/>
          </p15:clr>
        </p15:guide>
        <p15:guide id="2" pos="5384">
          <p15:clr>
            <a:srgbClr val="FBAE40"/>
          </p15:clr>
        </p15:guide>
        <p15:guide id="3" pos="374">
          <p15:clr>
            <a:srgbClr val="FBAE40"/>
          </p15:clr>
        </p15:guide>
        <p15:guide id="4" orient="horz" pos="306">
          <p15:clr>
            <a:srgbClr val="FBAE40"/>
          </p15:clr>
        </p15:guide>
        <p15:guide id="5" orient="horz" pos="972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sktop mockup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EC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584202" y="575841"/>
            <a:ext cx="7953374" cy="383260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200" b="0" cap="all" spc="50" baseline="0">
                <a:solidFill>
                  <a:schemeClr val="bg1"/>
                </a:solidFill>
                <a:latin typeface="Lato Black" panose="020F0A02020204030203" pitchFamily="34" charset="0"/>
                <a:ea typeface="Roboto" panose="02000000000000000000" pitchFamily="2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 dirty="0"/>
              <a:t>Clique para </a:t>
            </a:r>
            <a:r>
              <a:rPr lang="en-US" dirty="0" err="1"/>
              <a:t>editar</a:t>
            </a:r>
            <a:r>
              <a:rPr lang="en-US" dirty="0"/>
              <a:t> o </a:t>
            </a:r>
            <a:r>
              <a:rPr lang="en-US" dirty="0" err="1"/>
              <a:t>título</a:t>
            </a:r>
            <a:endParaRPr lang="en-US" dirty="0"/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593725" y="959101"/>
            <a:ext cx="7953374" cy="141344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ts val="1200"/>
              </a:lnSpc>
              <a:spcBef>
                <a:spcPts val="0"/>
              </a:spcBef>
              <a:buNone/>
              <a:defRPr sz="900" b="0" cap="none" spc="0" baseline="0">
                <a:solidFill>
                  <a:schemeClr val="bg1"/>
                </a:solidFill>
                <a:latin typeface="Lato" panose="020F0502020204030203" pitchFamily="34" charset="0"/>
                <a:ea typeface="Roboto" panose="02000000000000000000" pitchFamily="2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 dirty="0"/>
              <a:t>Clique para </a:t>
            </a:r>
            <a:r>
              <a:rPr lang="en-US" dirty="0" err="1"/>
              <a:t>editar</a:t>
            </a:r>
            <a:r>
              <a:rPr lang="en-US" dirty="0"/>
              <a:t> o </a:t>
            </a:r>
            <a:r>
              <a:rPr lang="en-US" dirty="0" err="1"/>
              <a:t>subtítulo</a:t>
            </a:r>
            <a:endParaRPr lang="en-US" dirty="0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593725" y="492067"/>
            <a:ext cx="914400" cy="0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Picture Placeholder 33"/>
          <p:cNvSpPr>
            <a:spLocks noGrp="1"/>
          </p:cNvSpPr>
          <p:nvPr>
            <p:ph type="pic" sz="quarter" idx="12"/>
          </p:nvPr>
        </p:nvSpPr>
        <p:spPr>
          <a:xfrm>
            <a:off x="1614488" y="1471670"/>
            <a:ext cx="5915025" cy="3186055"/>
          </a:xfrm>
          <a:custGeom>
            <a:avLst/>
            <a:gdLst>
              <a:gd name="connsiteX0" fmla="*/ 0 w 5915025"/>
              <a:gd name="connsiteY0" fmla="*/ 0 h 3326159"/>
              <a:gd name="connsiteX1" fmla="*/ 5915025 w 5915025"/>
              <a:gd name="connsiteY1" fmla="*/ 0 h 3326159"/>
              <a:gd name="connsiteX2" fmla="*/ 5915025 w 5915025"/>
              <a:gd name="connsiteY2" fmla="*/ 3326159 h 3326159"/>
              <a:gd name="connsiteX3" fmla="*/ 0 w 5915025"/>
              <a:gd name="connsiteY3" fmla="*/ 3326159 h 33261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915025" h="3326159">
                <a:moveTo>
                  <a:pt x="0" y="0"/>
                </a:moveTo>
                <a:lnTo>
                  <a:pt x="5915025" y="0"/>
                </a:lnTo>
                <a:lnTo>
                  <a:pt x="5915025" y="3326159"/>
                </a:lnTo>
                <a:lnTo>
                  <a:pt x="0" y="3326159"/>
                </a:lnTo>
                <a:close/>
              </a:path>
            </a:pathLst>
          </a:custGeom>
        </p:spPr>
        <p:txBody>
          <a:bodyPr wrap="square" anchor="ctr" anchorCtr="0">
            <a:noAutofit/>
          </a:bodyPr>
          <a:lstStyle>
            <a:lvl1pPr marL="0" indent="0" algn="ctr">
              <a:buFontTx/>
              <a:buNone/>
              <a:defRPr sz="1000">
                <a:solidFill>
                  <a:schemeClr val="accent6"/>
                </a:solidFill>
                <a:latin typeface="Lato" panose="020F0502020204030203" pitchFamily="34" charset="0"/>
              </a:defRPr>
            </a:lvl1pPr>
          </a:lstStyle>
          <a:p>
            <a:endParaRPr lang="en-US"/>
          </a:p>
        </p:txBody>
      </p:sp>
      <p:sp>
        <p:nvSpPr>
          <p:cNvPr id="21" name="Freeform 20"/>
          <p:cNvSpPr/>
          <p:nvPr userDrawn="1"/>
        </p:nvSpPr>
        <p:spPr>
          <a:xfrm>
            <a:off x="1614488" y="1318534"/>
            <a:ext cx="5915025" cy="156764"/>
          </a:xfrm>
          <a:custGeom>
            <a:avLst/>
            <a:gdLst>
              <a:gd name="connsiteX0" fmla="*/ 116359 w 15763003"/>
              <a:gd name="connsiteY0" fmla="*/ 0 h 418038"/>
              <a:gd name="connsiteX1" fmla="*/ 15646645 w 15763003"/>
              <a:gd name="connsiteY1" fmla="*/ 0 h 418038"/>
              <a:gd name="connsiteX2" fmla="*/ 15763003 w 15763003"/>
              <a:gd name="connsiteY2" fmla="*/ 116359 h 418038"/>
              <a:gd name="connsiteX3" fmla="*/ 15763003 w 15763003"/>
              <a:gd name="connsiteY3" fmla="*/ 418038 h 418038"/>
              <a:gd name="connsiteX4" fmla="*/ 0 w 15763003"/>
              <a:gd name="connsiteY4" fmla="*/ 418038 h 418038"/>
              <a:gd name="connsiteX5" fmla="*/ 0 w 15763003"/>
              <a:gd name="connsiteY5" fmla="*/ 116359 h 418038"/>
              <a:gd name="connsiteX6" fmla="*/ 116359 w 15763003"/>
              <a:gd name="connsiteY6" fmla="*/ 0 h 4180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763003" h="418038">
                <a:moveTo>
                  <a:pt x="116359" y="0"/>
                </a:moveTo>
                <a:lnTo>
                  <a:pt x="15646645" y="0"/>
                </a:lnTo>
                <a:cubicBezTo>
                  <a:pt x="15710907" y="0"/>
                  <a:pt x="15763003" y="52096"/>
                  <a:pt x="15763003" y="116359"/>
                </a:cubicBezTo>
                <a:lnTo>
                  <a:pt x="15763003" y="418038"/>
                </a:lnTo>
                <a:lnTo>
                  <a:pt x="0" y="418038"/>
                </a:lnTo>
                <a:lnTo>
                  <a:pt x="0" y="116359"/>
                </a:lnTo>
                <a:cubicBezTo>
                  <a:pt x="0" y="52096"/>
                  <a:pt x="52096" y="0"/>
                  <a:pt x="116359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6"/>
          </a:p>
        </p:txBody>
      </p:sp>
      <p:sp>
        <p:nvSpPr>
          <p:cNvPr id="22" name="Oval 21"/>
          <p:cNvSpPr/>
          <p:nvPr userDrawn="1"/>
        </p:nvSpPr>
        <p:spPr>
          <a:xfrm>
            <a:off x="1711524" y="1367661"/>
            <a:ext cx="54173" cy="54173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6"/>
          </a:p>
        </p:txBody>
      </p:sp>
      <p:sp>
        <p:nvSpPr>
          <p:cNvPr id="23" name="Oval 22"/>
          <p:cNvSpPr/>
          <p:nvPr userDrawn="1"/>
        </p:nvSpPr>
        <p:spPr>
          <a:xfrm>
            <a:off x="1806610" y="1367661"/>
            <a:ext cx="54173" cy="54173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6"/>
          </a:p>
        </p:txBody>
      </p:sp>
      <p:sp>
        <p:nvSpPr>
          <p:cNvPr id="24" name="Oval 23"/>
          <p:cNvSpPr/>
          <p:nvPr userDrawn="1"/>
        </p:nvSpPr>
        <p:spPr>
          <a:xfrm>
            <a:off x="1901697" y="1367661"/>
            <a:ext cx="54173" cy="54173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6"/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7154465" y="1366181"/>
            <a:ext cx="298052" cy="55653"/>
            <a:chOff x="19078575" y="3106739"/>
            <a:chExt cx="794804" cy="148407"/>
          </a:xfrm>
        </p:grpSpPr>
        <p:grpSp>
          <p:nvGrpSpPr>
            <p:cNvPr id="26" name="Group 25"/>
            <p:cNvGrpSpPr/>
            <p:nvPr/>
          </p:nvGrpSpPr>
          <p:grpSpPr>
            <a:xfrm>
              <a:off x="19736219" y="3106739"/>
              <a:ext cx="137160" cy="137160"/>
              <a:chOff x="19740165" y="3110684"/>
              <a:chExt cx="138113" cy="138113"/>
            </a:xfrm>
          </p:grpSpPr>
          <p:cxnSp>
            <p:nvCxnSpPr>
              <p:cNvPr id="29" name="Straight Connector 28"/>
              <p:cNvCxnSpPr/>
              <p:nvPr/>
            </p:nvCxnSpPr>
            <p:spPr>
              <a:xfrm>
                <a:off x="19740165" y="3110684"/>
                <a:ext cx="138113" cy="138113"/>
              </a:xfrm>
              <a:prstGeom prst="line">
                <a:avLst/>
              </a:prstGeom>
              <a:ln w="12700" cap="rnd">
                <a:solidFill>
                  <a:schemeClr val="bg1"/>
                </a:solidFill>
                <a:round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" name="Straight Connector 29"/>
              <p:cNvCxnSpPr/>
              <p:nvPr/>
            </p:nvCxnSpPr>
            <p:spPr>
              <a:xfrm flipV="1">
                <a:off x="19740165" y="3110684"/>
                <a:ext cx="138113" cy="138113"/>
              </a:xfrm>
              <a:prstGeom prst="line">
                <a:avLst/>
              </a:prstGeom>
              <a:ln w="12700" cap="rnd">
                <a:solidFill>
                  <a:schemeClr val="bg1"/>
                </a:solidFill>
                <a:round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7" name="Rounded Rectangle 26"/>
            <p:cNvSpPr/>
            <p:nvPr/>
          </p:nvSpPr>
          <p:spPr>
            <a:xfrm>
              <a:off x="19415125" y="3110684"/>
              <a:ext cx="144462" cy="144462"/>
            </a:xfrm>
            <a:prstGeom prst="roundRect">
              <a:avLst/>
            </a:prstGeom>
            <a:no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/>
            </a:p>
          </p:txBody>
        </p:sp>
        <p:cxnSp>
          <p:nvCxnSpPr>
            <p:cNvPr id="28" name="Straight Connector 27"/>
            <p:cNvCxnSpPr/>
            <p:nvPr/>
          </p:nvCxnSpPr>
          <p:spPr>
            <a:xfrm flipH="1">
              <a:off x="19078575" y="3255146"/>
              <a:ext cx="161925" cy="0"/>
            </a:xfrm>
            <a:prstGeom prst="line">
              <a:avLst/>
            </a:prstGeom>
            <a:ln w="12700" cap="rnd">
              <a:solidFill>
                <a:schemeClr val="bg1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6" name="Picture Placeholder 35"/>
          <p:cNvSpPr>
            <a:spLocks noGrp="1"/>
          </p:cNvSpPr>
          <p:nvPr>
            <p:ph type="pic" sz="quarter" idx="17"/>
          </p:nvPr>
        </p:nvSpPr>
        <p:spPr>
          <a:xfrm>
            <a:off x="5869461" y="2131214"/>
            <a:ext cx="1305324" cy="2409359"/>
          </a:xfrm>
          <a:custGeom>
            <a:avLst/>
            <a:gdLst>
              <a:gd name="connsiteX0" fmla="*/ 8541 w 1308021"/>
              <a:gd name="connsiteY0" fmla="*/ 0 h 2409359"/>
              <a:gd name="connsiteX1" fmla="*/ 1299480 w 1308021"/>
              <a:gd name="connsiteY1" fmla="*/ 0 h 2409359"/>
              <a:gd name="connsiteX2" fmla="*/ 1308021 w 1308021"/>
              <a:gd name="connsiteY2" fmla="*/ 8878 h 2409359"/>
              <a:gd name="connsiteX3" fmla="*/ 1308021 w 1308021"/>
              <a:gd name="connsiteY3" fmla="*/ 2400481 h 2409359"/>
              <a:gd name="connsiteX4" fmla="*/ 1299480 w 1308021"/>
              <a:gd name="connsiteY4" fmla="*/ 2409359 h 2409359"/>
              <a:gd name="connsiteX5" fmla="*/ 8541 w 1308021"/>
              <a:gd name="connsiteY5" fmla="*/ 2409359 h 2409359"/>
              <a:gd name="connsiteX6" fmla="*/ 0 w 1308021"/>
              <a:gd name="connsiteY6" fmla="*/ 2400481 h 2409359"/>
              <a:gd name="connsiteX7" fmla="*/ 0 w 1308021"/>
              <a:gd name="connsiteY7" fmla="*/ 8878 h 2409359"/>
              <a:gd name="connsiteX8" fmla="*/ 8541 w 1308021"/>
              <a:gd name="connsiteY8" fmla="*/ 0 h 2409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08021" h="2409359">
                <a:moveTo>
                  <a:pt x="8541" y="0"/>
                </a:moveTo>
                <a:lnTo>
                  <a:pt x="1299480" y="0"/>
                </a:lnTo>
                <a:cubicBezTo>
                  <a:pt x="1304198" y="0"/>
                  <a:pt x="1308021" y="3975"/>
                  <a:pt x="1308021" y="8878"/>
                </a:cubicBezTo>
                <a:lnTo>
                  <a:pt x="1308021" y="2400481"/>
                </a:lnTo>
                <a:cubicBezTo>
                  <a:pt x="1308021" y="2405384"/>
                  <a:pt x="1304198" y="2409359"/>
                  <a:pt x="1299480" y="2409359"/>
                </a:cubicBezTo>
                <a:lnTo>
                  <a:pt x="8541" y="2409359"/>
                </a:lnTo>
                <a:cubicBezTo>
                  <a:pt x="3824" y="2409359"/>
                  <a:pt x="0" y="2405384"/>
                  <a:pt x="0" y="2400481"/>
                </a:cubicBezTo>
                <a:lnTo>
                  <a:pt x="0" y="8878"/>
                </a:lnTo>
                <a:cubicBezTo>
                  <a:pt x="0" y="3975"/>
                  <a:pt x="3824" y="0"/>
                  <a:pt x="8541" y="0"/>
                </a:cubicBezTo>
                <a:close/>
              </a:path>
            </a:pathLst>
          </a:custGeom>
          <a:noFill/>
          <a:ln w="6350">
            <a:solidFill>
              <a:schemeClr val="accent1"/>
            </a:solidFill>
          </a:ln>
        </p:spPr>
        <p:txBody>
          <a:bodyPr wrap="square" lIns="0" tIns="0" rIns="0" bIns="0" anchor="ctr" anchorCtr="0">
            <a:noAutofit/>
          </a:bodyPr>
          <a:lstStyle>
            <a:lvl1pPr marL="0" indent="0" algn="ctr">
              <a:buFontTx/>
              <a:buNone/>
              <a:defRPr sz="800">
                <a:solidFill>
                  <a:schemeClr val="accent6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8" name="Imagem 17">
            <a:extLst>
              <a:ext uri="{FF2B5EF4-FFF2-40B4-BE49-F238E27FC236}">
                <a16:creationId xmlns:a16="http://schemas.microsoft.com/office/drawing/2014/main" id="{02FB0B3C-5976-4891-AA20-21AB526312C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7126" y="4373217"/>
            <a:ext cx="716873" cy="7702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46377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extLst>
    <p:ext uri="{DCECCB84-F9BA-43D5-87BE-67443E8EF086}">
      <p15:sldGuideLst xmlns:p15="http://schemas.microsoft.com/office/powerpoint/2012/main">
        <p15:guide id="1" orient="horz" pos="2934">
          <p15:clr>
            <a:srgbClr val="FBAE40"/>
          </p15:clr>
        </p15:guide>
        <p15:guide id="2" pos="5384">
          <p15:clr>
            <a:srgbClr val="FBAE40"/>
          </p15:clr>
        </p15:guide>
        <p15:guide id="3" pos="374">
          <p15:clr>
            <a:srgbClr val="FBAE40"/>
          </p15:clr>
        </p15:guide>
        <p15:guide id="4" orient="horz" pos="306">
          <p15:clr>
            <a:srgbClr val="FBAE40"/>
          </p15:clr>
        </p15:guide>
        <p15:guide id="5" orient="horz" pos="972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tebook mockup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/>
          <p:cNvSpPr/>
          <p:nvPr userDrawn="1"/>
        </p:nvSpPr>
        <p:spPr>
          <a:xfrm>
            <a:off x="595314" y="1934633"/>
            <a:ext cx="7953374" cy="1872580"/>
          </a:xfrm>
          <a:prstGeom prst="rect">
            <a:avLst/>
          </a:prstGeom>
          <a:solidFill>
            <a:srgbClr val="EC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61535" y="1432135"/>
            <a:ext cx="5027326" cy="3049841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584202" y="575841"/>
            <a:ext cx="7953374" cy="383260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200" b="0" cap="all" spc="50" baseline="0">
                <a:solidFill>
                  <a:schemeClr val="accent1"/>
                </a:solidFill>
                <a:latin typeface="Lato Black" panose="020F0A02020204030203" pitchFamily="34" charset="0"/>
                <a:ea typeface="Roboto" panose="02000000000000000000" pitchFamily="2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593725" y="959101"/>
            <a:ext cx="7953374" cy="141344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ts val="1200"/>
              </a:lnSpc>
              <a:spcBef>
                <a:spcPts val="0"/>
              </a:spcBef>
              <a:buNone/>
              <a:defRPr sz="900" b="0" cap="none" spc="0" baseline="0">
                <a:solidFill>
                  <a:schemeClr val="accent4"/>
                </a:solidFill>
                <a:latin typeface="Lato" panose="020F0502020204030203" pitchFamily="34" charset="0"/>
                <a:ea typeface="Roboto" panose="02000000000000000000" pitchFamily="2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593725" y="492067"/>
            <a:ext cx="914400" cy="0"/>
          </a:xfrm>
          <a:prstGeom prst="line">
            <a:avLst/>
          </a:prstGeom>
          <a:ln w="28575">
            <a:solidFill>
              <a:srgbClr val="EC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1957511" y="1714500"/>
            <a:ext cx="3635375" cy="2324100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FontTx/>
              <a:buNone/>
              <a:defRPr sz="800">
                <a:solidFill>
                  <a:schemeClr val="accent5"/>
                </a:solidFill>
                <a:latin typeface="Lato" panose="020F0502020204030203" pitchFamily="34" charset="0"/>
              </a:defRPr>
            </a:lvl1pPr>
          </a:lstStyle>
          <a:p>
            <a:endParaRPr lang="en-US"/>
          </a:p>
        </p:txBody>
      </p:sp>
      <p:pic>
        <p:nvPicPr>
          <p:cNvPr id="15" name="Imagem 14">
            <a:extLst>
              <a:ext uri="{FF2B5EF4-FFF2-40B4-BE49-F238E27FC236}">
                <a16:creationId xmlns:a16="http://schemas.microsoft.com/office/drawing/2014/main" id="{51E8431B-E590-40DF-8220-A7B5CB823DF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7127" y="4373217"/>
            <a:ext cx="716873" cy="7702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45836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extLst>
    <p:ext uri="{DCECCB84-F9BA-43D5-87BE-67443E8EF086}">
      <p15:sldGuideLst xmlns:p15="http://schemas.microsoft.com/office/powerpoint/2012/main">
        <p15:guide id="1" orient="horz" pos="2700">
          <p15:clr>
            <a:srgbClr val="FBAE40"/>
          </p15:clr>
        </p15:guide>
        <p15:guide id="2" pos="5384">
          <p15:clr>
            <a:srgbClr val="FBAE40"/>
          </p15:clr>
        </p15:guide>
        <p15:guide id="3" pos="374">
          <p15:clr>
            <a:srgbClr val="FBAE40"/>
          </p15:clr>
        </p15:guide>
        <p15:guide id="4" orient="horz" pos="306">
          <p15:clr>
            <a:srgbClr val="FBAE40"/>
          </p15:clr>
        </p15:guide>
        <p15:guide id="5" orient="horz" pos="972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">
    <p:bg>
      <p:bgPr>
        <a:solidFill>
          <a:srgbClr val="FCFCF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o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23" name="Slide do think-cell" r:id="rId4" imgW="421" imgH="423" progId="TCLayout.ActiveDocument.1">
                  <p:embed/>
                </p:oleObj>
              </mc:Choice>
              <mc:Fallback>
                <p:oleObj name="Slide do think-cell" r:id="rId4" imgW="421" imgH="423" progId="TCLayout.ActiveDocument.1">
                  <p:embed/>
                  <p:pic>
                    <p:nvPicPr>
                      <p:cNvPr id="5" name="Objeto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Imagem 3"/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588" y="1"/>
            <a:ext cx="9144000" cy="5143500"/>
          </a:xfrm>
          <a:prstGeom prst="rect">
            <a:avLst/>
          </a:prstGeom>
          <a:effectLst>
            <a:glow>
              <a:schemeClr val="accent1">
                <a:alpha val="40000"/>
              </a:schemeClr>
            </a:glow>
          </a:effectLst>
        </p:spPr>
      </p:pic>
      <p:sp>
        <p:nvSpPr>
          <p:cNvPr id="16" name="Retângulo 15"/>
          <p:cNvSpPr/>
          <p:nvPr userDrawn="1"/>
        </p:nvSpPr>
        <p:spPr>
          <a:xfrm>
            <a:off x="-32586" y="2423091"/>
            <a:ext cx="9176586" cy="307777"/>
          </a:xfrm>
          <a:prstGeom prst="rect">
            <a:avLst/>
          </a:prstGeom>
          <a:solidFill>
            <a:srgbClr val="2B2D42">
              <a:alpha val="60000"/>
            </a:srgbClr>
          </a:solidFill>
        </p:spPr>
        <p:txBody>
          <a:bodyPr wrap="square" rtlCol="0" anchor="ctr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pt-BR" sz="1400" dirty="0"/>
          </a:p>
        </p:txBody>
      </p:sp>
      <p:grpSp>
        <p:nvGrpSpPr>
          <p:cNvPr id="19" name="Grupo 18"/>
          <p:cNvGrpSpPr/>
          <p:nvPr userDrawn="1"/>
        </p:nvGrpSpPr>
        <p:grpSpPr>
          <a:xfrm>
            <a:off x="634926" y="563421"/>
            <a:ext cx="3571876" cy="2964640"/>
            <a:chOff x="634925" y="563420"/>
            <a:chExt cx="3571876" cy="2964640"/>
          </a:xfrm>
          <a:solidFill>
            <a:srgbClr val="EC0000"/>
          </a:solidFill>
        </p:grpSpPr>
        <p:sp>
          <p:nvSpPr>
            <p:cNvPr id="9" name="Retângulo 8"/>
            <p:cNvSpPr/>
            <p:nvPr userDrawn="1"/>
          </p:nvSpPr>
          <p:spPr>
            <a:xfrm>
              <a:off x="634925" y="563420"/>
              <a:ext cx="3571875" cy="2964640"/>
            </a:xfrm>
            <a:prstGeom prst="rect">
              <a:avLst/>
            </a:prstGeom>
            <a:grpFill/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1800"/>
            </a:p>
          </p:txBody>
        </p:sp>
        <p:sp>
          <p:nvSpPr>
            <p:cNvPr id="10" name="Triângulo retângulo 9"/>
            <p:cNvSpPr/>
            <p:nvPr userDrawn="1"/>
          </p:nvSpPr>
          <p:spPr>
            <a:xfrm rot="10800000" flipH="1">
              <a:off x="878527" y="3138101"/>
              <a:ext cx="3328274" cy="264335"/>
            </a:xfrm>
            <a:prstGeom prst="rtTriangle">
              <a:avLst/>
            </a:prstGeom>
            <a:grpFill/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1800"/>
            </a:p>
          </p:txBody>
        </p:sp>
      </p:grpSp>
      <p:cxnSp>
        <p:nvCxnSpPr>
          <p:cNvPr id="12" name="Straight Connector 11"/>
          <p:cNvCxnSpPr/>
          <p:nvPr userDrawn="1"/>
        </p:nvCxnSpPr>
        <p:spPr>
          <a:xfrm>
            <a:off x="931336" y="2159000"/>
            <a:ext cx="359996" cy="0"/>
          </a:xfrm>
          <a:prstGeom prst="line">
            <a:avLst/>
          </a:prstGeom>
          <a:ln w="6350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0" name="Text Placeholder 28"/>
          <p:cNvSpPr>
            <a:spLocks noGrp="1"/>
          </p:cNvSpPr>
          <p:nvPr>
            <p:ph type="body" sz="quarter" idx="10" hasCustomPrompt="1"/>
          </p:nvPr>
        </p:nvSpPr>
        <p:spPr>
          <a:xfrm>
            <a:off x="799638" y="713553"/>
            <a:ext cx="3247428" cy="1345966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2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BR" dirty="0"/>
              <a:t>Título da apresentação</a:t>
            </a:r>
            <a:r>
              <a:rPr lang="x-none" dirty="0"/>
              <a:t>– 24pt</a:t>
            </a:r>
            <a:endParaRPr lang="en-US" dirty="0"/>
          </a:p>
        </p:txBody>
      </p:sp>
      <p:sp>
        <p:nvSpPr>
          <p:cNvPr id="39" name="Text Placeholder 28"/>
          <p:cNvSpPr>
            <a:spLocks noGrp="1"/>
          </p:cNvSpPr>
          <p:nvPr>
            <p:ph type="body" sz="quarter" idx="14" hasCustomPrompt="1"/>
          </p:nvPr>
        </p:nvSpPr>
        <p:spPr>
          <a:xfrm>
            <a:off x="827861" y="2308535"/>
            <a:ext cx="3219207" cy="662271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1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BR" dirty="0"/>
              <a:t>Escreva aqui a descrição - ou informação da apresentação</a:t>
            </a:r>
            <a:r>
              <a:rPr lang="x-none" dirty="0"/>
              <a:t>– 11pt italic</a:t>
            </a:r>
            <a:endParaRPr lang="en-US" dirty="0"/>
          </a:p>
        </p:txBody>
      </p:sp>
      <p:sp>
        <p:nvSpPr>
          <p:cNvPr id="41" name="Text Placeholder 28"/>
          <p:cNvSpPr>
            <a:spLocks noGrp="1"/>
          </p:cNvSpPr>
          <p:nvPr>
            <p:ph type="body" sz="quarter" idx="15" hasCustomPrompt="1"/>
          </p:nvPr>
        </p:nvSpPr>
        <p:spPr>
          <a:xfrm>
            <a:off x="827861" y="2970805"/>
            <a:ext cx="2522971" cy="278448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000" b="1" i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BR" dirty="0"/>
              <a:t>Nome do responsável </a:t>
            </a:r>
            <a:r>
              <a:rPr lang="x-none" dirty="0"/>
              <a:t>– 10pt </a:t>
            </a:r>
            <a:r>
              <a:rPr lang="pt-BR" dirty="0"/>
              <a:t>Negrito</a:t>
            </a:r>
            <a:endParaRPr lang="en-US" dirty="0"/>
          </a:p>
        </p:txBody>
      </p:sp>
      <p:sp>
        <p:nvSpPr>
          <p:cNvPr id="43" name="Text Placeholder 28"/>
          <p:cNvSpPr>
            <a:spLocks noGrp="1"/>
          </p:cNvSpPr>
          <p:nvPr>
            <p:ph type="body" sz="quarter" idx="16" hasCustomPrompt="1"/>
          </p:nvPr>
        </p:nvSpPr>
        <p:spPr>
          <a:xfrm>
            <a:off x="827860" y="3149771"/>
            <a:ext cx="2182511" cy="26512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900" b="0" i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BR" dirty="0"/>
              <a:t>Departamento</a:t>
            </a:r>
            <a:r>
              <a:rPr lang="x-none" dirty="0"/>
              <a:t>/Area – 9pt</a:t>
            </a:r>
            <a:endParaRPr lang="en-US" dirty="0"/>
          </a:p>
        </p:txBody>
      </p:sp>
      <p:sp>
        <p:nvSpPr>
          <p:cNvPr id="11" name="Text Placeholder 28"/>
          <p:cNvSpPr>
            <a:spLocks noGrp="1"/>
          </p:cNvSpPr>
          <p:nvPr>
            <p:ph type="body" sz="quarter" idx="17" hasCustomPrompt="1"/>
          </p:nvPr>
        </p:nvSpPr>
        <p:spPr>
          <a:xfrm>
            <a:off x="3010372" y="3160370"/>
            <a:ext cx="1036695" cy="203217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900" b="0" i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t-BR" dirty="0" err="1"/>
              <a:t>dd</a:t>
            </a:r>
            <a:r>
              <a:rPr lang="x-none" dirty="0"/>
              <a:t>/</a:t>
            </a:r>
            <a:r>
              <a:rPr lang="pt-BR" dirty="0"/>
              <a:t>mm</a:t>
            </a:r>
            <a:r>
              <a:rPr lang="x-none" dirty="0"/>
              <a:t>/</a:t>
            </a:r>
            <a:r>
              <a:rPr lang="pt-BR" dirty="0"/>
              <a:t>aa</a:t>
            </a:r>
            <a:r>
              <a:rPr lang="x-none" dirty="0"/>
              <a:t> </a:t>
            </a:r>
            <a:br>
              <a:rPr lang="x-none" dirty="0"/>
            </a:br>
            <a:r>
              <a:rPr lang="x-none" dirty="0"/>
              <a:t>- 9pt</a:t>
            </a:r>
            <a:endParaRPr lang="en-US" dirty="0"/>
          </a:p>
        </p:txBody>
      </p:sp>
      <p:pic>
        <p:nvPicPr>
          <p:cNvPr id="6" name="Imagem 5"/>
          <p:cNvPicPr>
            <a:picLocks noChangeAspect="1"/>
          </p:cNvPicPr>
          <p:nvPr userDrawn="1"/>
        </p:nvPicPr>
        <p:blipFill>
          <a:blip r:embed="rId7" cstate="email">
            <a:clrChange>
              <a:clrFrom>
                <a:srgbClr val="231F20"/>
              </a:clrFrom>
              <a:clrTo>
                <a:srgbClr val="231F2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91867" y="381451"/>
            <a:ext cx="1787676" cy="7173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44821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 advTm="3000"/>
    </mc:Choice>
    <mc:Fallback xmlns="">
      <p:transition advClick="0" advTm="3000"/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com foto redond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584202" y="575841"/>
            <a:ext cx="7953374" cy="383260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200" b="0" cap="all" spc="50" baseline="0">
                <a:solidFill>
                  <a:schemeClr val="accent1"/>
                </a:solidFill>
                <a:latin typeface="Lato Black" panose="020F0A02020204030203" pitchFamily="34" charset="0"/>
                <a:ea typeface="Roboto" panose="02000000000000000000" pitchFamily="2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 dirty="0"/>
              <a:t>Clique para </a:t>
            </a:r>
            <a:r>
              <a:rPr lang="en-US" dirty="0" err="1"/>
              <a:t>editar</a:t>
            </a:r>
            <a:r>
              <a:rPr lang="en-US" dirty="0"/>
              <a:t> o </a:t>
            </a:r>
            <a:r>
              <a:rPr lang="en-US" dirty="0" err="1"/>
              <a:t>título</a:t>
            </a:r>
            <a:endParaRPr lang="en-US" dirty="0"/>
          </a:p>
        </p:txBody>
      </p:sp>
      <p:sp>
        <p:nvSpPr>
          <p:cNvPr id="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593725" y="959101"/>
            <a:ext cx="7953374" cy="141344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ts val="1200"/>
              </a:lnSpc>
              <a:spcBef>
                <a:spcPts val="0"/>
              </a:spcBef>
              <a:buNone/>
              <a:defRPr sz="900" b="0" cap="none" spc="0" baseline="0">
                <a:solidFill>
                  <a:schemeClr val="accent4"/>
                </a:solidFill>
                <a:latin typeface="Lato" panose="020F0502020204030203" pitchFamily="34" charset="0"/>
                <a:ea typeface="Roboto" panose="02000000000000000000" pitchFamily="2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 dirty="0"/>
              <a:t>Clique para </a:t>
            </a:r>
            <a:r>
              <a:rPr lang="en-US" dirty="0" err="1"/>
              <a:t>editar</a:t>
            </a:r>
            <a:r>
              <a:rPr lang="en-US" dirty="0"/>
              <a:t> o </a:t>
            </a:r>
            <a:r>
              <a:rPr lang="en-US" dirty="0" err="1"/>
              <a:t>subtítulo</a:t>
            </a:r>
            <a:endParaRPr lang="en-US" dirty="0"/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593725" y="492067"/>
            <a:ext cx="914400" cy="0"/>
          </a:xfrm>
          <a:prstGeom prst="line">
            <a:avLst/>
          </a:prstGeom>
          <a:ln w="28575">
            <a:solidFill>
              <a:srgbClr val="EC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Picture Placeholder 7"/>
          <p:cNvSpPr>
            <a:spLocks noGrp="1"/>
          </p:cNvSpPr>
          <p:nvPr>
            <p:ph type="pic" sz="quarter" idx="12"/>
          </p:nvPr>
        </p:nvSpPr>
        <p:spPr>
          <a:xfrm>
            <a:off x="0" y="1543050"/>
            <a:ext cx="3152716" cy="2743200"/>
          </a:xfrm>
          <a:custGeom>
            <a:avLst/>
            <a:gdLst>
              <a:gd name="connsiteX0" fmla="*/ 0 w 9516533"/>
              <a:gd name="connsiteY0" fmla="*/ 0 h 8280400"/>
              <a:gd name="connsiteX1" fmla="*/ 5376333 w 9516533"/>
              <a:gd name="connsiteY1" fmla="*/ 0 h 8280400"/>
              <a:gd name="connsiteX2" fmla="*/ 9516533 w 9516533"/>
              <a:gd name="connsiteY2" fmla="*/ 4140200 h 8280400"/>
              <a:gd name="connsiteX3" fmla="*/ 5376333 w 9516533"/>
              <a:gd name="connsiteY3" fmla="*/ 8280400 h 8280400"/>
              <a:gd name="connsiteX4" fmla="*/ 0 w 9516533"/>
              <a:gd name="connsiteY4" fmla="*/ 8280400 h 8280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516533" h="8280400">
                <a:moveTo>
                  <a:pt x="0" y="0"/>
                </a:moveTo>
                <a:lnTo>
                  <a:pt x="5376333" y="0"/>
                </a:lnTo>
                <a:cubicBezTo>
                  <a:pt x="7662902" y="0"/>
                  <a:pt x="9516533" y="1853631"/>
                  <a:pt x="9516533" y="4140200"/>
                </a:cubicBezTo>
                <a:cubicBezTo>
                  <a:pt x="9516533" y="6426769"/>
                  <a:pt x="7662902" y="8280400"/>
                  <a:pt x="5376333" y="8280400"/>
                </a:cubicBezTo>
                <a:lnTo>
                  <a:pt x="0" y="8280400"/>
                </a:lnTo>
                <a:close/>
              </a:path>
            </a:pathLst>
          </a:custGeom>
        </p:spPr>
        <p:txBody>
          <a:bodyPr wrap="square" lIns="0" tIns="0" rIns="0" bIns="0" anchor="ctr" anchorCtr="0">
            <a:noAutofit/>
          </a:bodyPr>
          <a:lstStyle>
            <a:lvl1pPr marL="0" indent="0" algn="ctr">
              <a:buFontTx/>
              <a:buNone/>
              <a:defRPr sz="1000">
                <a:solidFill>
                  <a:schemeClr val="accent5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4" name="Imagem 13">
            <a:extLst>
              <a:ext uri="{FF2B5EF4-FFF2-40B4-BE49-F238E27FC236}">
                <a16:creationId xmlns:a16="http://schemas.microsoft.com/office/drawing/2014/main" id="{9C82BD62-1A7C-44ED-BF94-BF6CFBE4AAF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7127" y="4373217"/>
            <a:ext cx="716873" cy="7702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95611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extLst>
    <p:ext uri="{DCECCB84-F9BA-43D5-87BE-67443E8EF086}">
      <p15:sldGuideLst xmlns:p15="http://schemas.microsoft.com/office/powerpoint/2012/main">
        <p15:guide id="1" orient="horz" pos="2700">
          <p15:clr>
            <a:srgbClr val="FBAE40"/>
          </p15:clr>
        </p15:guide>
        <p15:guide id="2" pos="5384">
          <p15:clr>
            <a:srgbClr val="FBAE40"/>
          </p15:clr>
        </p15:guide>
        <p15:guide id="3" pos="374">
          <p15:clr>
            <a:srgbClr val="FBAE40"/>
          </p15:clr>
        </p15:guide>
        <p15:guide id="4" orient="horz" pos="306">
          <p15:clr>
            <a:srgbClr val="FBAE40"/>
          </p15:clr>
        </p15:guide>
        <p15:guide id="5" orient="horz" pos="972">
          <p15:clr>
            <a:srgbClr val="FBAE40"/>
          </p15:clr>
        </p15:guide>
      </p15:sldGuideLst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e Conteúd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584203" y="575841"/>
            <a:ext cx="7953374" cy="383260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200" b="0" cap="all" spc="50" baseline="0">
                <a:solidFill>
                  <a:schemeClr val="accent1"/>
                </a:solidFill>
                <a:latin typeface="Lato Black" panose="020F0A02020204030203" pitchFamily="34" charset="0"/>
                <a:ea typeface="Roboto" panose="02000000000000000000" pitchFamily="2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 dirty="0"/>
              <a:t>CLIQUE PARA EDITAR O TÍTULO</a:t>
            </a:r>
          </a:p>
        </p:txBody>
      </p:sp>
      <p:sp>
        <p:nvSpPr>
          <p:cNvPr id="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593725" y="959101"/>
            <a:ext cx="7953374" cy="141344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ts val="1200"/>
              </a:lnSpc>
              <a:spcBef>
                <a:spcPts val="0"/>
              </a:spcBef>
              <a:buNone/>
              <a:defRPr sz="900" b="0" cap="none" spc="0" baseline="0">
                <a:solidFill>
                  <a:schemeClr val="accent4"/>
                </a:solidFill>
                <a:latin typeface="Lato" panose="020F0502020204030203" pitchFamily="34" charset="0"/>
                <a:ea typeface="Roboto" panose="02000000000000000000" pitchFamily="2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 dirty="0"/>
              <a:t>Clique para </a:t>
            </a:r>
            <a:r>
              <a:rPr lang="en-US" dirty="0" err="1"/>
              <a:t>editar</a:t>
            </a:r>
            <a:r>
              <a:rPr lang="en-US" dirty="0"/>
              <a:t> o </a:t>
            </a:r>
            <a:r>
              <a:rPr lang="en-US" dirty="0" err="1"/>
              <a:t>subtítulo</a:t>
            </a:r>
            <a:r>
              <a:rPr lang="en-US" dirty="0"/>
              <a:t> </a:t>
            </a: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593725" y="492067"/>
            <a:ext cx="914400" cy="0"/>
          </a:xfrm>
          <a:prstGeom prst="line">
            <a:avLst/>
          </a:prstGeom>
          <a:ln w="28575">
            <a:solidFill>
              <a:srgbClr val="EC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Imagem 12">
            <a:extLst>
              <a:ext uri="{FF2B5EF4-FFF2-40B4-BE49-F238E27FC236}">
                <a16:creationId xmlns:a16="http://schemas.microsoft.com/office/drawing/2014/main" id="{A7C41CD7-960B-4BA3-BE3B-8FB5670A3FB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7128" y="4373218"/>
            <a:ext cx="716873" cy="7702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46625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extLst>
    <p:ext uri="{DCECCB84-F9BA-43D5-87BE-67443E8EF086}">
      <p15:sldGuideLst xmlns:p15="http://schemas.microsoft.com/office/powerpoint/2012/main">
        <p15:guide id="1" orient="horz" pos="2700">
          <p15:clr>
            <a:srgbClr val="FBAE40"/>
          </p15:clr>
        </p15:guide>
        <p15:guide id="2" pos="5384">
          <p15:clr>
            <a:srgbClr val="FBAE40"/>
          </p15:clr>
        </p15:guide>
        <p15:guide id="3" pos="374">
          <p15:clr>
            <a:srgbClr val="FBAE40"/>
          </p15:clr>
        </p15:guide>
        <p15:guide id="4" orient="horz" pos="306">
          <p15:clr>
            <a:srgbClr val="FBAE40"/>
          </p15:clr>
        </p15:guide>
        <p15:guide id="5" orient="horz" pos="972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em branc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m 6">
            <a:extLst>
              <a:ext uri="{FF2B5EF4-FFF2-40B4-BE49-F238E27FC236}">
                <a16:creationId xmlns:a16="http://schemas.microsoft.com/office/drawing/2014/main" id="{84BF2A4C-08D2-4BE4-BE4A-A78FED23A01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7128" y="4373218"/>
            <a:ext cx="716873" cy="7702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75640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extLst>
    <p:ext uri="{DCECCB84-F9BA-43D5-87BE-67443E8EF086}">
      <p15:sldGuideLst xmlns:p15="http://schemas.microsoft.com/office/powerpoint/2012/main">
        <p15:guide id="1" orient="horz" pos="2700">
          <p15:clr>
            <a:srgbClr val="FBAE40"/>
          </p15:clr>
        </p15:guide>
        <p15:guide id="2" pos="5384">
          <p15:clr>
            <a:srgbClr val="FBAE40"/>
          </p15:clr>
        </p15:guide>
        <p15:guide id="3" pos="374">
          <p15:clr>
            <a:srgbClr val="FBAE40"/>
          </p15:clr>
        </p15:guide>
        <p15:guide id="4" orient="horz" pos="306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em branco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m 3">
            <a:extLst>
              <a:ext uri="{FF2B5EF4-FFF2-40B4-BE49-F238E27FC236}">
                <a16:creationId xmlns:a16="http://schemas.microsoft.com/office/drawing/2014/main" id="{25348740-15B1-446E-8ABA-452D4F495B0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7128" y="4373218"/>
            <a:ext cx="716873" cy="7702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18481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extLst>
    <p:ext uri="{DCECCB84-F9BA-43D5-87BE-67443E8EF086}">
      <p15:sldGuideLst xmlns:p15="http://schemas.microsoft.com/office/powerpoint/2012/main">
        <p15:guide id="1" orient="horz" pos="2700">
          <p15:clr>
            <a:srgbClr val="FBAE40"/>
          </p15:clr>
        </p15:guide>
        <p15:guide id="2" pos="5384">
          <p15:clr>
            <a:srgbClr val="FBAE40"/>
          </p15:clr>
        </p15:guide>
        <p15:guide id="3" pos="374">
          <p15:clr>
            <a:srgbClr val="FBAE40"/>
          </p15:clr>
        </p15:guide>
        <p15:guide id="4" orient="horz" pos="306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Vermelho Austrá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EC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4" name="Imagem 3">
            <a:extLst>
              <a:ext uri="{FF2B5EF4-FFF2-40B4-BE49-F238E27FC236}">
                <a16:creationId xmlns:a16="http://schemas.microsoft.com/office/drawing/2014/main" id="{3AA1E296-34FE-4ADD-9B0B-EA5256C2152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7127" y="4373218"/>
            <a:ext cx="716873" cy="7702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63843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extLst>
    <p:ext uri="{DCECCB84-F9BA-43D5-87BE-67443E8EF086}">
      <p15:sldGuideLst xmlns:p15="http://schemas.microsoft.com/office/powerpoint/2012/main">
        <p15:guide id="1" orient="horz" pos="2700">
          <p15:clr>
            <a:srgbClr val="FBAE40"/>
          </p15:clr>
        </p15:guide>
        <p15:guide id="2" pos="5384">
          <p15:clr>
            <a:srgbClr val="FBAE40"/>
          </p15:clr>
        </p15:guide>
        <p15:guide id="3" pos="374">
          <p15:clr>
            <a:srgbClr val="FBAE40"/>
          </p15:clr>
        </p15:guide>
        <p15:guide id="4" orient="horz" pos="306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com pequena fot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584203" y="575841"/>
            <a:ext cx="7953374" cy="383260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200" b="0" cap="all" spc="50" baseline="0">
                <a:solidFill>
                  <a:schemeClr val="accent1"/>
                </a:solidFill>
                <a:latin typeface="Lato Black" panose="020F0A02020204030203" pitchFamily="34" charset="0"/>
                <a:ea typeface="Roboto" panose="02000000000000000000" pitchFamily="2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 dirty="0"/>
              <a:t>Clique para </a:t>
            </a:r>
            <a:r>
              <a:rPr lang="en-US" dirty="0" err="1"/>
              <a:t>editar</a:t>
            </a:r>
            <a:r>
              <a:rPr lang="en-US" dirty="0"/>
              <a:t> o </a:t>
            </a:r>
            <a:r>
              <a:rPr lang="en-US" dirty="0" err="1"/>
              <a:t>título</a:t>
            </a:r>
            <a:endParaRPr lang="en-US" dirty="0"/>
          </a:p>
        </p:txBody>
      </p:sp>
      <p:sp>
        <p:nvSpPr>
          <p:cNvPr id="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593725" y="959101"/>
            <a:ext cx="7953374" cy="141344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ts val="1200"/>
              </a:lnSpc>
              <a:spcBef>
                <a:spcPts val="0"/>
              </a:spcBef>
              <a:buNone/>
              <a:defRPr sz="900" b="0" cap="none" spc="0" baseline="0">
                <a:solidFill>
                  <a:schemeClr val="accent4"/>
                </a:solidFill>
                <a:latin typeface="Lato" panose="020F0502020204030203" pitchFamily="34" charset="0"/>
                <a:ea typeface="Roboto" panose="02000000000000000000" pitchFamily="2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 dirty="0"/>
              <a:t>Clique para </a:t>
            </a:r>
            <a:r>
              <a:rPr lang="en-US" dirty="0" err="1"/>
              <a:t>editar</a:t>
            </a:r>
            <a:r>
              <a:rPr lang="en-US" dirty="0"/>
              <a:t> o </a:t>
            </a:r>
            <a:r>
              <a:rPr lang="en-US" dirty="0" err="1"/>
              <a:t>subtítulo</a:t>
            </a:r>
            <a:endParaRPr lang="en-US" dirty="0"/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593725" y="492067"/>
            <a:ext cx="914400" cy="0"/>
          </a:xfrm>
          <a:prstGeom prst="line">
            <a:avLst/>
          </a:prstGeom>
          <a:ln w="28575">
            <a:solidFill>
              <a:srgbClr val="EC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4725987" y="1543050"/>
            <a:ext cx="3821113" cy="2743200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FontTx/>
              <a:buNone/>
              <a:defRPr sz="1000">
                <a:solidFill>
                  <a:schemeClr val="accent5"/>
                </a:solidFill>
                <a:latin typeface="Lato" panose="020F0502020204030203" pitchFamily="34" charset="0"/>
              </a:defRPr>
            </a:lvl1pPr>
          </a:lstStyle>
          <a:p>
            <a:endParaRPr lang="en-US"/>
          </a:p>
        </p:txBody>
      </p:sp>
      <p:pic>
        <p:nvPicPr>
          <p:cNvPr id="13" name="Imagem 12">
            <a:extLst>
              <a:ext uri="{FF2B5EF4-FFF2-40B4-BE49-F238E27FC236}">
                <a16:creationId xmlns:a16="http://schemas.microsoft.com/office/drawing/2014/main" id="{417A36B6-2F22-4DA7-A04D-1BBE93DDB69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7128" y="4373218"/>
            <a:ext cx="716873" cy="7702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81182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extLst>
    <p:ext uri="{DCECCB84-F9BA-43D5-87BE-67443E8EF086}">
      <p15:sldGuideLst xmlns:p15="http://schemas.microsoft.com/office/powerpoint/2012/main">
        <p15:guide id="1" orient="horz" pos="2700">
          <p15:clr>
            <a:srgbClr val="FBAE40"/>
          </p15:clr>
        </p15:guide>
        <p15:guide id="2" pos="5384">
          <p15:clr>
            <a:srgbClr val="FBAE40"/>
          </p15:clr>
        </p15:guide>
        <p15:guide id="3" pos="374">
          <p15:clr>
            <a:srgbClr val="FBAE40"/>
          </p15:clr>
        </p15:guide>
        <p15:guide id="4" orient="horz" pos="306">
          <p15:clr>
            <a:srgbClr val="FBAE40"/>
          </p15:clr>
        </p15:guide>
        <p15:guide id="5" orient="horz" pos="972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com divisão de foto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593726" y="1543050"/>
            <a:ext cx="7953375" cy="27432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584203" y="575841"/>
            <a:ext cx="7953374" cy="383260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200" b="0" cap="all" spc="50" baseline="0">
                <a:solidFill>
                  <a:schemeClr val="accent1"/>
                </a:solidFill>
                <a:latin typeface="Lato Black" panose="020F0A02020204030203" pitchFamily="34" charset="0"/>
                <a:ea typeface="Roboto" panose="02000000000000000000" pitchFamily="2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 dirty="0"/>
              <a:t>Clique para </a:t>
            </a:r>
            <a:r>
              <a:rPr lang="en-US" dirty="0" err="1"/>
              <a:t>editar</a:t>
            </a:r>
            <a:r>
              <a:rPr lang="en-US" dirty="0"/>
              <a:t> o </a:t>
            </a:r>
            <a:r>
              <a:rPr lang="en-US" dirty="0" err="1"/>
              <a:t>título</a:t>
            </a:r>
            <a:endParaRPr lang="en-US" dirty="0"/>
          </a:p>
        </p:txBody>
      </p:sp>
      <p:sp>
        <p:nvSpPr>
          <p:cNvPr id="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593725" y="959101"/>
            <a:ext cx="7953374" cy="141344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ts val="1200"/>
              </a:lnSpc>
              <a:spcBef>
                <a:spcPts val="0"/>
              </a:spcBef>
              <a:buNone/>
              <a:defRPr sz="900" b="0" cap="none" spc="0" baseline="0">
                <a:solidFill>
                  <a:schemeClr val="accent4"/>
                </a:solidFill>
                <a:latin typeface="Lato" panose="020F0502020204030203" pitchFamily="34" charset="0"/>
                <a:ea typeface="Roboto" panose="02000000000000000000" pitchFamily="2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 dirty="0"/>
              <a:t>Clique para </a:t>
            </a:r>
            <a:r>
              <a:rPr lang="en-US" dirty="0" err="1"/>
              <a:t>editar</a:t>
            </a:r>
            <a:r>
              <a:rPr lang="en-US" dirty="0"/>
              <a:t> o </a:t>
            </a:r>
            <a:r>
              <a:rPr lang="en-US" dirty="0" err="1"/>
              <a:t>subtítulo</a:t>
            </a:r>
            <a:endParaRPr lang="en-US" dirty="0"/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593725" y="492067"/>
            <a:ext cx="914400" cy="0"/>
          </a:xfrm>
          <a:prstGeom prst="line">
            <a:avLst/>
          </a:prstGeom>
          <a:ln w="28575">
            <a:solidFill>
              <a:srgbClr val="EC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593726" y="1543050"/>
            <a:ext cx="3821113" cy="2743200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FontTx/>
              <a:buNone/>
              <a:defRPr sz="1000">
                <a:solidFill>
                  <a:schemeClr val="accent5"/>
                </a:solidFill>
                <a:latin typeface="Lato" panose="020F0502020204030203" pitchFamily="34" charset="0"/>
              </a:defRPr>
            </a:lvl1pPr>
          </a:lstStyle>
          <a:p>
            <a:endParaRPr lang="en-US"/>
          </a:p>
        </p:txBody>
      </p:sp>
      <p:pic>
        <p:nvPicPr>
          <p:cNvPr id="14" name="Imagem 13">
            <a:extLst>
              <a:ext uri="{FF2B5EF4-FFF2-40B4-BE49-F238E27FC236}">
                <a16:creationId xmlns:a16="http://schemas.microsoft.com/office/drawing/2014/main" id="{F34F6E55-9D75-4FDA-88B0-F3942CF1A5A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7128" y="4373218"/>
            <a:ext cx="716873" cy="7702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58650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extLst>
    <p:ext uri="{DCECCB84-F9BA-43D5-87BE-67443E8EF086}">
      <p15:sldGuideLst xmlns:p15="http://schemas.microsoft.com/office/powerpoint/2012/main">
        <p15:guide id="1" orient="horz" pos="2700">
          <p15:clr>
            <a:srgbClr val="FBAE40"/>
          </p15:clr>
        </p15:guide>
        <p15:guide id="2" pos="5384">
          <p15:clr>
            <a:srgbClr val="FBAE40"/>
          </p15:clr>
        </p15:guide>
        <p15:guide id="3" pos="374">
          <p15:clr>
            <a:srgbClr val="FBAE40"/>
          </p15:clr>
        </p15:guide>
        <p15:guide id="4" orient="horz" pos="306">
          <p15:clr>
            <a:srgbClr val="FBAE40"/>
          </p15:clr>
        </p15:guide>
        <p15:guide id="5" orient="horz" pos="972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com foto redond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584203" y="575841"/>
            <a:ext cx="7953374" cy="383260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200" b="0" cap="all" spc="50" baseline="0">
                <a:solidFill>
                  <a:schemeClr val="accent1"/>
                </a:solidFill>
                <a:latin typeface="Lato Black" panose="020F0A02020204030203" pitchFamily="34" charset="0"/>
                <a:ea typeface="Roboto" panose="02000000000000000000" pitchFamily="2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 dirty="0"/>
              <a:t>Clique para </a:t>
            </a:r>
            <a:r>
              <a:rPr lang="en-US" dirty="0" err="1"/>
              <a:t>editar</a:t>
            </a:r>
            <a:r>
              <a:rPr lang="en-US" dirty="0"/>
              <a:t> o </a:t>
            </a:r>
            <a:r>
              <a:rPr lang="en-US" dirty="0" err="1"/>
              <a:t>título</a:t>
            </a:r>
            <a:endParaRPr lang="en-US" dirty="0"/>
          </a:p>
        </p:txBody>
      </p:sp>
      <p:sp>
        <p:nvSpPr>
          <p:cNvPr id="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593725" y="959101"/>
            <a:ext cx="7953374" cy="141344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ts val="1200"/>
              </a:lnSpc>
              <a:spcBef>
                <a:spcPts val="0"/>
              </a:spcBef>
              <a:buNone/>
              <a:defRPr sz="900" b="0" cap="none" spc="0" baseline="0">
                <a:solidFill>
                  <a:schemeClr val="accent4"/>
                </a:solidFill>
                <a:latin typeface="Lato" panose="020F0502020204030203" pitchFamily="34" charset="0"/>
                <a:ea typeface="Roboto" panose="02000000000000000000" pitchFamily="2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 dirty="0"/>
              <a:t>Clique para </a:t>
            </a:r>
            <a:r>
              <a:rPr lang="en-US" dirty="0" err="1"/>
              <a:t>editar</a:t>
            </a:r>
            <a:r>
              <a:rPr lang="en-US" dirty="0"/>
              <a:t> o </a:t>
            </a:r>
            <a:r>
              <a:rPr lang="en-US" dirty="0" err="1"/>
              <a:t>subtítulo</a:t>
            </a:r>
            <a:endParaRPr lang="en-US" dirty="0"/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593725" y="492067"/>
            <a:ext cx="914400" cy="0"/>
          </a:xfrm>
          <a:prstGeom prst="line">
            <a:avLst/>
          </a:prstGeom>
          <a:ln w="28575">
            <a:solidFill>
              <a:srgbClr val="EC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Picture Placeholder 7"/>
          <p:cNvSpPr>
            <a:spLocks noGrp="1"/>
          </p:cNvSpPr>
          <p:nvPr>
            <p:ph type="pic" sz="quarter" idx="12"/>
          </p:nvPr>
        </p:nvSpPr>
        <p:spPr>
          <a:xfrm>
            <a:off x="0" y="1543050"/>
            <a:ext cx="3152716" cy="2743200"/>
          </a:xfrm>
          <a:custGeom>
            <a:avLst/>
            <a:gdLst>
              <a:gd name="connsiteX0" fmla="*/ 0 w 9516533"/>
              <a:gd name="connsiteY0" fmla="*/ 0 h 8280400"/>
              <a:gd name="connsiteX1" fmla="*/ 5376333 w 9516533"/>
              <a:gd name="connsiteY1" fmla="*/ 0 h 8280400"/>
              <a:gd name="connsiteX2" fmla="*/ 9516533 w 9516533"/>
              <a:gd name="connsiteY2" fmla="*/ 4140200 h 8280400"/>
              <a:gd name="connsiteX3" fmla="*/ 5376333 w 9516533"/>
              <a:gd name="connsiteY3" fmla="*/ 8280400 h 8280400"/>
              <a:gd name="connsiteX4" fmla="*/ 0 w 9516533"/>
              <a:gd name="connsiteY4" fmla="*/ 8280400 h 8280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516533" h="8280400">
                <a:moveTo>
                  <a:pt x="0" y="0"/>
                </a:moveTo>
                <a:lnTo>
                  <a:pt x="5376333" y="0"/>
                </a:lnTo>
                <a:cubicBezTo>
                  <a:pt x="7662902" y="0"/>
                  <a:pt x="9516533" y="1853631"/>
                  <a:pt x="9516533" y="4140200"/>
                </a:cubicBezTo>
                <a:cubicBezTo>
                  <a:pt x="9516533" y="6426769"/>
                  <a:pt x="7662902" y="8280400"/>
                  <a:pt x="5376333" y="8280400"/>
                </a:cubicBezTo>
                <a:lnTo>
                  <a:pt x="0" y="8280400"/>
                </a:lnTo>
                <a:close/>
              </a:path>
            </a:pathLst>
          </a:custGeom>
        </p:spPr>
        <p:txBody>
          <a:bodyPr wrap="square" lIns="0" tIns="0" rIns="0" bIns="0" anchor="ctr" anchorCtr="0">
            <a:noAutofit/>
          </a:bodyPr>
          <a:lstStyle>
            <a:lvl1pPr marL="0" indent="0" algn="ctr">
              <a:buFontTx/>
              <a:buNone/>
              <a:defRPr sz="1000">
                <a:solidFill>
                  <a:schemeClr val="accent5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4" name="Imagem 13">
            <a:extLst>
              <a:ext uri="{FF2B5EF4-FFF2-40B4-BE49-F238E27FC236}">
                <a16:creationId xmlns:a16="http://schemas.microsoft.com/office/drawing/2014/main" id="{9C82BD62-1A7C-44ED-BF94-BF6CFBE4AAF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7128" y="4373218"/>
            <a:ext cx="716873" cy="7702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60654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extLst>
    <p:ext uri="{DCECCB84-F9BA-43D5-87BE-67443E8EF086}">
      <p15:sldGuideLst xmlns:p15="http://schemas.microsoft.com/office/powerpoint/2012/main">
        <p15:guide id="1" orient="horz" pos="2700">
          <p15:clr>
            <a:srgbClr val="FBAE40"/>
          </p15:clr>
        </p15:guide>
        <p15:guide id="2" pos="5384">
          <p15:clr>
            <a:srgbClr val="FBAE40"/>
          </p15:clr>
        </p15:guide>
        <p15:guide id="3" pos="374">
          <p15:clr>
            <a:srgbClr val="FBAE40"/>
          </p15:clr>
        </p15:guide>
        <p15:guide id="4" orient="horz" pos="306">
          <p15:clr>
            <a:srgbClr val="FBAE40"/>
          </p15:clr>
        </p15:guide>
        <p15:guide id="5" orient="horz" pos="972">
          <p15:clr>
            <a:srgbClr val="FBAE40"/>
          </p15:clr>
        </p15:guide>
      </p15:sldGuideLst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com foto na esquerd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1" y="0"/>
            <a:ext cx="3986213" cy="5143500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FontTx/>
              <a:buNone/>
              <a:defRPr sz="1000">
                <a:solidFill>
                  <a:schemeClr val="accent5"/>
                </a:solidFill>
                <a:latin typeface="Lato" panose="020F0502020204030203" pitchFamily="34" charset="0"/>
              </a:defRPr>
            </a:lvl1pPr>
          </a:lstStyle>
          <a:p>
            <a:endParaRPr lang="en-US"/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0F29F348-DBE9-40F9-BB60-FF3FE56C477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7128" y="4373218"/>
            <a:ext cx="716873" cy="7702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07489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extLst>
    <p:ext uri="{DCECCB84-F9BA-43D5-87BE-67443E8EF086}">
      <p15:sldGuideLst xmlns:p15="http://schemas.microsoft.com/office/powerpoint/2012/main">
        <p15:guide id="1" orient="horz" pos="2700">
          <p15:clr>
            <a:srgbClr val="FBAE40"/>
          </p15:clr>
        </p15:guide>
        <p15:guide id="2" pos="5384">
          <p15:clr>
            <a:srgbClr val="FBAE40"/>
          </p15:clr>
        </p15:guide>
        <p15:guide id="3" pos="374">
          <p15:clr>
            <a:srgbClr val="FBAE40"/>
          </p15:clr>
        </p15:guide>
        <p15:guide id="4" orient="horz" pos="306">
          <p15:clr>
            <a:srgbClr val="FBAE40"/>
          </p15:clr>
        </p15:guide>
      </p15:sldGuideLst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com foto na esquerda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4572000" cy="5143500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FontTx/>
              <a:buNone/>
              <a:defRPr sz="1000">
                <a:solidFill>
                  <a:schemeClr val="accent5"/>
                </a:solidFill>
                <a:latin typeface="Lato" panose="020F0502020204030203" pitchFamily="34" charset="0"/>
              </a:defRPr>
            </a:lvl1pPr>
          </a:lstStyle>
          <a:p>
            <a:endParaRPr lang="en-US"/>
          </a:p>
        </p:txBody>
      </p:sp>
      <p:pic>
        <p:nvPicPr>
          <p:cNvPr id="8" name="Imagem 7">
            <a:extLst>
              <a:ext uri="{FF2B5EF4-FFF2-40B4-BE49-F238E27FC236}">
                <a16:creationId xmlns:a16="http://schemas.microsoft.com/office/drawing/2014/main" id="{CD93093B-9C87-49BA-A36F-999EEAC7F4E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7128" y="4373218"/>
            <a:ext cx="716873" cy="7702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94784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extLst>
    <p:ext uri="{DCECCB84-F9BA-43D5-87BE-67443E8EF086}">
      <p15:sldGuideLst xmlns:p15="http://schemas.microsoft.com/office/powerpoint/2012/main">
        <p15:guide id="1" orient="horz" pos="2700">
          <p15:clr>
            <a:srgbClr val="FBAE40"/>
          </p15:clr>
        </p15:guide>
        <p15:guide id="2" pos="5384">
          <p15:clr>
            <a:srgbClr val="FBAE40"/>
          </p15:clr>
        </p15:guide>
        <p15:guide id="3" pos="374">
          <p15:clr>
            <a:srgbClr val="FBAE40"/>
          </p15:clr>
        </p15:guide>
        <p15:guide id="4" orient="horz" pos="306">
          <p15:clr>
            <a:srgbClr val="FBAE40"/>
          </p15:clr>
        </p15:guide>
        <p15:guide id="0" orient="horz" pos="972">
          <p15:clr>
            <a:srgbClr val="FBAE40"/>
          </p15:clr>
        </p15:guide>
      </p15:sldGuideLst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com foto na direit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4572001" y="0"/>
            <a:ext cx="4572000" cy="5143500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FontTx/>
              <a:buNone/>
              <a:defRPr sz="1000">
                <a:solidFill>
                  <a:schemeClr val="accent5"/>
                </a:solidFill>
                <a:latin typeface="Lato" panose="020F0502020204030203" pitchFamily="34" charset="0"/>
              </a:defRPr>
            </a:lvl1pPr>
          </a:lstStyle>
          <a:p>
            <a:endParaRPr lang="en-US"/>
          </a:p>
        </p:txBody>
      </p:sp>
      <p:pic>
        <p:nvPicPr>
          <p:cNvPr id="5" name="Imagem 4">
            <a:extLst>
              <a:ext uri="{FF2B5EF4-FFF2-40B4-BE49-F238E27FC236}">
                <a16:creationId xmlns:a16="http://schemas.microsoft.com/office/drawing/2014/main" id="{2AAC6521-B7C5-4C4F-A7E2-361FAD0A33D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4373218"/>
            <a:ext cx="716873" cy="7702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25574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extLst>
    <p:ext uri="{DCECCB84-F9BA-43D5-87BE-67443E8EF086}">
      <p15:sldGuideLst xmlns:p15="http://schemas.microsoft.com/office/powerpoint/2012/main">
        <p15:guide id="1" orient="horz" pos="2700">
          <p15:clr>
            <a:srgbClr val="FBAE40"/>
          </p15:clr>
        </p15:guide>
        <p15:guide id="2" pos="5384">
          <p15:clr>
            <a:srgbClr val="FBAE40"/>
          </p15:clr>
        </p15:guide>
        <p15:guide id="3" pos="374">
          <p15:clr>
            <a:srgbClr val="FBAE40"/>
          </p15:clr>
        </p15:guide>
        <p15:guide id="4" orient="horz" pos="306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com foto na esquerd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3986213" cy="5143500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FontTx/>
              <a:buNone/>
              <a:defRPr sz="1000">
                <a:solidFill>
                  <a:schemeClr val="accent5"/>
                </a:solidFill>
                <a:latin typeface="Lato" panose="020F0502020204030203" pitchFamily="34" charset="0"/>
              </a:defRPr>
            </a:lvl1pPr>
          </a:lstStyle>
          <a:p>
            <a:endParaRPr lang="en-US"/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0F29F348-DBE9-40F9-BB60-FF3FE56C477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7127" y="4373217"/>
            <a:ext cx="716873" cy="7702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5800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extLst>
    <p:ext uri="{DCECCB84-F9BA-43D5-87BE-67443E8EF086}">
      <p15:sldGuideLst xmlns:p15="http://schemas.microsoft.com/office/powerpoint/2012/main">
        <p15:guide id="1" orient="horz" pos="2700">
          <p15:clr>
            <a:srgbClr val="FBAE40"/>
          </p15:clr>
        </p15:guide>
        <p15:guide id="2" pos="5384">
          <p15:clr>
            <a:srgbClr val="FBAE40"/>
          </p15:clr>
        </p15:guide>
        <p15:guide id="3" pos="374">
          <p15:clr>
            <a:srgbClr val="FBAE40"/>
          </p15:clr>
        </p15:guide>
        <p15:guide id="4" orient="horz" pos="306">
          <p15:clr>
            <a:srgbClr val="FBAE40"/>
          </p15:clr>
        </p15:guide>
      </p15:sldGuideLst>
    </p:ext>
  </p:extLs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com título e duas foto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584203" y="575841"/>
            <a:ext cx="7953374" cy="383260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200" b="0" cap="all" spc="50" baseline="0">
                <a:solidFill>
                  <a:schemeClr val="accent1"/>
                </a:solidFill>
                <a:latin typeface="Lato Black" panose="020F0A02020204030203" pitchFamily="34" charset="0"/>
                <a:ea typeface="Roboto" panose="02000000000000000000" pitchFamily="2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 dirty="0"/>
              <a:t>Clique para </a:t>
            </a:r>
            <a:r>
              <a:rPr lang="en-US" dirty="0" err="1"/>
              <a:t>editar</a:t>
            </a:r>
            <a:r>
              <a:rPr lang="en-US" dirty="0"/>
              <a:t> o </a:t>
            </a:r>
            <a:r>
              <a:rPr lang="en-US" dirty="0" err="1"/>
              <a:t>título</a:t>
            </a:r>
            <a:endParaRPr lang="en-US" dirty="0"/>
          </a:p>
        </p:txBody>
      </p:sp>
      <p:sp>
        <p:nvSpPr>
          <p:cNvPr id="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593725" y="959101"/>
            <a:ext cx="7953374" cy="141344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ts val="1200"/>
              </a:lnSpc>
              <a:spcBef>
                <a:spcPts val="0"/>
              </a:spcBef>
              <a:buNone/>
              <a:defRPr sz="900" b="0" cap="none" spc="0" baseline="0">
                <a:solidFill>
                  <a:schemeClr val="accent4"/>
                </a:solidFill>
                <a:latin typeface="Lato" panose="020F0502020204030203" pitchFamily="34" charset="0"/>
                <a:ea typeface="Roboto" panose="02000000000000000000" pitchFamily="2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 dirty="0"/>
              <a:t>Clique para </a:t>
            </a:r>
            <a:r>
              <a:rPr lang="en-US" dirty="0" err="1"/>
              <a:t>editar</a:t>
            </a:r>
            <a:r>
              <a:rPr lang="en-US" dirty="0"/>
              <a:t> o </a:t>
            </a:r>
            <a:r>
              <a:rPr lang="en-US" dirty="0" err="1"/>
              <a:t>subtítulo</a:t>
            </a:r>
            <a:endParaRPr lang="en-US" dirty="0"/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593725" y="492067"/>
            <a:ext cx="914400" cy="0"/>
          </a:xfrm>
          <a:prstGeom prst="line">
            <a:avLst/>
          </a:prstGeom>
          <a:ln w="28575">
            <a:solidFill>
              <a:srgbClr val="EC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593725" y="1543050"/>
            <a:ext cx="3821113" cy="2743200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FontTx/>
              <a:buNone/>
              <a:defRPr sz="1000">
                <a:solidFill>
                  <a:schemeClr val="accent5"/>
                </a:solidFill>
                <a:latin typeface="Lato" panose="020F0502020204030203" pitchFamily="34" charset="0"/>
              </a:defRPr>
            </a:lvl1pPr>
          </a:lstStyle>
          <a:p>
            <a:endParaRPr lang="en-US"/>
          </a:p>
        </p:txBody>
      </p:sp>
      <p:sp>
        <p:nvSpPr>
          <p:cNvPr id="20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4725987" y="1543050"/>
            <a:ext cx="3821113" cy="2743200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FontTx/>
              <a:buNone/>
              <a:defRPr sz="1000">
                <a:solidFill>
                  <a:schemeClr val="accent5"/>
                </a:solidFill>
                <a:latin typeface="Lato" panose="020F0502020204030203" pitchFamily="34" charset="0"/>
              </a:defRPr>
            </a:lvl1pPr>
          </a:lstStyle>
          <a:p>
            <a:endParaRPr lang="en-US"/>
          </a:p>
        </p:txBody>
      </p:sp>
      <p:pic>
        <p:nvPicPr>
          <p:cNvPr id="13" name="Imagem 12">
            <a:extLst>
              <a:ext uri="{FF2B5EF4-FFF2-40B4-BE49-F238E27FC236}">
                <a16:creationId xmlns:a16="http://schemas.microsoft.com/office/drawing/2014/main" id="{A50785E9-16F5-40C8-8FE9-9EFCC4A62DE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7128" y="4373218"/>
            <a:ext cx="716873" cy="7702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69705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extLst>
    <p:ext uri="{DCECCB84-F9BA-43D5-87BE-67443E8EF086}">
      <p15:sldGuideLst xmlns:p15="http://schemas.microsoft.com/office/powerpoint/2012/main">
        <p15:guide id="1" orient="horz" pos="2700">
          <p15:clr>
            <a:srgbClr val="FBAE40"/>
          </p15:clr>
        </p15:guide>
        <p15:guide id="2" pos="5384">
          <p15:clr>
            <a:srgbClr val="FBAE40"/>
          </p15:clr>
        </p15:guide>
        <p15:guide id="3" pos="374">
          <p15:clr>
            <a:srgbClr val="FBAE40"/>
          </p15:clr>
        </p15:guide>
        <p15:guide id="4" orient="horz" pos="306">
          <p15:clr>
            <a:srgbClr val="FBAE40"/>
          </p15:clr>
        </p15:guide>
        <p15:guide id="5" orient="horz" pos="972">
          <p15:clr>
            <a:srgbClr val="FBAE40"/>
          </p15:clr>
        </p15:guide>
      </p15:sldGuideLst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com 3 foto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584203" y="575841"/>
            <a:ext cx="7953374" cy="383260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200" b="0" cap="all" spc="50" baseline="0">
                <a:solidFill>
                  <a:schemeClr val="accent1"/>
                </a:solidFill>
                <a:latin typeface="Lato Black" panose="020F0A02020204030203" pitchFamily="34" charset="0"/>
                <a:ea typeface="Roboto" panose="02000000000000000000" pitchFamily="2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 dirty="0"/>
              <a:t>Clique para </a:t>
            </a:r>
            <a:r>
              <a:rPr lang="en-US" dirty="0" err="1"/>
              <a:t>editar</a:t>
            </a:r>
            <a:r>
              <a:rPr lang="en-US" dirty="0"/>
              <a:t> o </a:t>
            </a:r>
            <a:r>
              <a:rPr lang="en-US" dirty="0" err="1"/>
              <a:t>título</a:t>
            </a:r>
            <a:endParaRPr lang="en-US" dirty="0"/>
          </a:p>
        </p:txBody>
      </p:sp>
      <p:sp>
        <p:nvSpPr>
          <p:cNvPr id="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593725" y="959101"/>
            <a:ext cx="7953374" cy="141344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ts val="1200"/>
              </a:lnSpc>
              <a:spcBef>
                <a:spcPts val="0"/>
              </a:spcBef>
              <a:buNone/>
              <a:defRPr sz="900" b="0" cap="none" spc="0" baseline="0">
                <a:solidFill>
                  <a:schemeClr val="accent4"/>
                </a:solidFill>
                <a:latin typeface="Lato" panose="020F0502020204030203" pitchFamily="34" charset="0"/>
                <a:ea typeface="Roboto" panose="02000000000000000000" pitchFamily="2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 dirty="0"/>
              <a:t>Clique para </a:t>
            </a:r>
            <a:r>
              <a:rPr lang="en-US" dirty="0" err="1"/>
              <a:t>editar</a:t>
            </a:r>
            <a:r>
              <a:rPr lang="en-US" dirty="0"/>
              <a:t> o </a:t>
            </a:r>
            <a:r>
              <a:rPr lang="en-US" dirty="0" err="1"/>
              <a:t>subtítulo</a:t>
            </a:r>
            <a:endParaRPr lang="en-US" dirty="0"/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593725" y="492067"/>
            <a:ext cx="914400" cy="0"/>
          </a:xfrm>
          <a:prstGeom prst="line">
            <a:avLst/>
          </a:prstGeom>
          <a:ln w="28575">
            <a:solidFill>
              <a:srgbClr val="EC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593726" y="1543050"/>
            <a:ext cx="2513188" cy="2743200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FontTx/>
              <a:buNone/>
              <a:defRPr sz="1000">
                <a:solidFill>
                  <a:schemeClr val="accent5"/>
                </a:solidFill>
                <a:latin typeface="Lato" panose="020F0502020204030203" pitchFamily="34" charset="0"/>
              </a:defRPr>
            </a:lvl1pPr>
          </a:lstStyle>
          <a:p>
            <a:endParaRPr lang="en-US"/>
          </a:p>
        </p:txBody>
      </p:sp>
      <p:sp>
        <p:nvSpPr>
          <p:cNvPr id="14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6033912" y="1543050"/>
            <a:ext cx="2513188" cy="2743200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FontTx/>
              <a:buNone/>
              <a:defRPr sz="1000">
                <a:solidFill>
                  <a:schemeClr val="accent5"/>
                </a:solidFill>
                <a:latin typeface="Lato" panose="020F0502020204030203" pitchFamily="34" charset="0"/>
              </a:defRPr>
            </a:lvl1pPr>
          </a:lstStyle>
          <a:p>
            <a:endParaRPr lang="en-US"/>
          </a:p>
        </p:txBody>
      </p:sp>
      <p:sp>
        <p:nvSpPr>
          <p:cNvPr id="15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3315407" y="1543050"/>
            <a:ext cx="2513188" cy="2743200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FontTx/>
              <a:buNone/>
              <a:defRPr sz="1000">
                <a:solidFill>
                  <a:schemeClr val="accent5"/>
                </a:solidFill>
                <a:latin typeface="Lato" panose="020F0502020204030203" pitchFamily="34" charset="0"/>
              </a:defRPr>
            </a:lvl1pPr>
          </a:lstStyle>
          <a:p>
            <a:endParaRPr lang="en-US"/>
          </a:p>
        </p:txBody>
      </p:sp>
      <p:pic>
        <p:nvPicPr>
          <p:cNvPr id="13" name="Imagem 12">
            <a:extLst>
              <a:ext uri="{FF2B5EF4-FFF2-40B4-BE49-F238E27FC236}">
                <a16:creationId xmlns:a16="http://schemas.microsoft.com/office/drawing/2014/main" id="{33C9BC74-459D-4CB9-B544-26C2E591A7C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7128" y="4373218"/>
            <a:ext cx="716873" cy="7702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66142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extLst>
    <p:ext uri="{DCECCB84-F9BA-43D5-87BE-67443E8EF086}">
      <p15:sldGuideLst xmlns:p15="http://schemas.microsoft.com/office/powerpoint/2012/main">
        <p15:guide id="1" orient="horz" pos="2700">
          <p15:clr>
            <a:srgbClr val="FBAE40"/>
          </p15:clr>
        </p15:guide>
        <p15:guide id="2" pos="5384">
          <p15:clr>
            <a:srgbClr val="FBAE40"/>
          </p15:clr>
        </p15:guide>
        <p15:guide id="3" pos="374">
          <p15:clr>
            <a:srgbClr val="FBAE40"/>
          </p15:clr>
        </p15:guide>
        <p15:guide id="4" orient="horz" pos="306">
          <p15:clr>
            <a:srgbClr val="FBAE40"/>
          </p15:clr>
        </p15:guide>
        <p15:guide id="5" orient="horz" pos="972">
          <p15:clr>
            <a:srgbClr val="FBAE4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com 5 foto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584203" y="575841"/>
            <a:ext cx="7953374" cy="383260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200" b="0" cap="all" spc="50" baseline="0">
                <a:solidFill>
                  <a:schemeClr val="accent1"/>
                </a:solidFill>
                <a:latin typeface="Lato Black" panose="020F0A02020204030203" pitchFamily="34" charset="0"/>
                <a:ea typeface="Roboto" panose="02000000000000000000" pitchFamily="2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 dirty="0"/>
              <a:t>Clique para </a:t>
            </a:r>
            <a:r>
              <a:rPr lang="en-US" dirty="0" err="1"/>
              <a:t>editar</a:t>
            </a:r>
            <a:r>
              <a:rPr lang="en-US" dirty="0"/>
              <a:t> o </a:t>
            </a:r>
            <a:r>
              <a:rPr lang="en-US" dirty="0" err="1"/>
              <a:t>título</a:t>
            </a:r>
            <a:endParaRPr lang="en-US" dirty="0"/>
          </a:p>
        </p:txBody>
      </p:sp>
      <p:sp>
        <p:nvSpPr>
          <p:cNvPr id="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593725" y="959101"/>
            <a:ext cx="7953374" cy="141344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ts val="1200"/>
              </a:lnSpc>
              <a:spcBef>
                <a:spcPts val="0"/>
              </a:spcBef>
              <a:buNone/>
              <a:defRPr sz="900" b="0" cap="none" spc="0" baseline="0">
                <a:solidFill>
                  <a:schemeClr val="accent4"/>
                </a:solidFill>
                <a:latin typeface="Lato" panose="020F0502020204030203" pitchFamily="34" charset="0"/>
                <a:ea typeface="Roboto" panose="02000000000000000000" pitchFamily="2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 dirty="0"/>
              <a:t>Clique para </a:t>
            </a:r>
            <a:r>
              <a:rPr lang="en-US" dirty="0" err="1"/>
              <a:t>editar</a:t>
            </a:r>
            <a:r>
              <a:rPr lang="en-US" dirty="0"/>
              <a:t> o </a:t>
            </a:r>
            <a:r>
              <a:rPr lang="en-US" dirty="0" err="1"/>
              <a:t>subtítulo</a:t>
            </a:r>
            <a:endParaRPr lang="en-US" dirty="0"/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593725" y="492067"/>
            <a:ext cx="914400" cy="0"/>
          </a:xfrm>
          <a:prstGeom prst="line">
            <a:avLst/>
          </a:prstGeom>
          <a:ln w="28575">
            <a:solidFill>
              <a:srgbClr val="EC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593726" y="1543050"/>
            <a:ext cx="2560108" cy="1316520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FontTx/>
              <a:buNone/>
              <a:defRPr sz="800">
                <a:solidFill>
                  <a:schemeClr val="accent5"/>
                </a:solidFill>
                <a:latin typeface="Lato" panose="020F0502020204030203" pitchFamily="34" charset="0"/>
              </a:defRPr>
            </a:lvl1pPr>
          </a:lstStyle>
          <a:p>
            <a:endParaRPr lang="en-US"/>
          </a:p>
        </p:txBody>
      </p:sp>
      <p:sp>
        <p:nvSpPr>
          <p:cNvPr id="25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5985434" y="1543050"/>
            <a:ext cx="2560108" cy="1316520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FontTx/>
              <a:buNone/>
              <a:defRPr sz="800">
                <a:solidFill>
                  <a:schemeClr val="accent5"/>
                </a:solidFill>
                <a:latin typeface="Lato" panose="020F0502020204030203" pitchFamily="34" charset="0"/>
              </a:defRPr>
            </a:lvl1pPr>
          </a:lstStyle>
          <a:p>
            <a:endParaRPr lang="en-US"/>
          </a:p>
        </p:txBody>
      </p:sp>
      <p:sp>
        <p:nvSpPr>
          <p:cNvPr id="27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593726" y="2965967"/>
            <a:ext cx="2560108" cy="1316520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FontTx/>
              <a:buNone/>
              <a:defRPr sz="800">
                <a:solidFill>
                  <a:schemeClr val="accent5"/>
                </a:solidFill>
                <a:latin typeface="Lato" panose="020F0502020204030203" pitchFamily="34" charset="0"/>
              </a:defRPr>
            </a:lvl1pPr>
          </a:lstStyle>
          <a:p>
            <a:endParaRPr lang="en-US"/>
          </a:p>
        </p:txBody>
      </p:sp>
      <p:sp>
        <p:nvSpPr>
          <p:cNvPr id="28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5985434" y="2965967"/>
            <a:ext cx="2560108" cy="1316520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FontTx/>
              <a:buNone/>
              <a:defRPr sz="800">
                <a:solidFill>
                  <a:schemeClr val="accent5"/>
                </a:solidFill>
                <a:latin typeface="Lato" panose="020F0502020204030203" pitchFamily="34" charset="0"/>
              </a:defRPr>
            </a:lvl1pPr>
          </a:lstStyle>
          <a:p>
            <a:endParaRPr lang="en-US"/>
          </a:p>
        </p:txBody>
      </p:sp>
      <p:sp>
        <p:nvSpPr>
          <p:cNvPr id="29" name="Picture Placeholder 2"/>
          <p:cNvSpPr>
            <a:spLocks noGrp="1"/>
          </p:cNvSpPr>
          <p:nvPr>
            <p:ph type="pic" sz="quarter" idx="17"/>
          </p:nvPr>
        </p:nvSpPr>
        <p:spPr>
          <a:xfrm>
            <a:off x="3291947" y="2965967"/>
            <a:ext cx="2560108" cy="1316520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FontTx/>
              <a:buNone/>
              <a:defRPr sz="800">
                <a:solidFill>
                  <a:schemeClr val="accent5"/>
                </a:solidFill>
                <a:latin typeface="Lato" panose="020F0502020204030203" pitchFamily="34" charset="0"/>
              </a:defRPr>
            </a:lvl1pPr>
          </a:lstStyle>
          <a:p>
            <a:endParaRPr lang="en-US"/>
          </a:p>
        </p:txBody>
      </p:sp>
      <p:pic>
        <p:nvPicPr>
          <p:cNvPr id="15" name="Imagem 14">
            <a:extLst>
              <a:ext uri="{FF2B5EF4-FFF2-40B4-BE49-F238E27FC236}">
                <a16:creationId xmlns:a16="http://schemas.microsoft.com/office/drawing/2014/main" id="{9A39571E-2F98-4461-9EC4-F6084731B78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7128" y="4373218"/>
            <a:ext cx="716873" cy="7702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61388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extLst>
    <p:ext uri="{DCECCB84-F9BA-43D5-87BE-67443E8EF086}">
      <p15:sldGuideLst xmlns:p15="http://schemas.microsoft.com/office/powerpoint/2012/main">
        <p15:guide id="1" orient="horz" pos="2700">
          <p15:clr>
            <a:srgbClr val="FBAE40"/>
          </p15:clr>
        </p15:guide>
        <p15:guide id="2" pos="5384">
          <p15:clr>
            <a:srgbClr val="FBAE40"/>
          </p15:clr>
        </p15:guide>
        <p15:guide id="3" pos="374">
          <p15:clr>
            <a:srgbClr val="FBAE40"/>
          </p15:clr>
        </p15:guide>
        <p15:guide id="4" orient="horz" pos="306">
          <p15:clr>
            <a:srgbClr val="FBAE40"/>
          </p15:clr>
        </p15:guide>
        <p15:guide id="5" orient="horz" pos="972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com 4 foto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584203" y="575841"/>
            <a:ext cx="7953374" cy="383260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200" b="0" cap="all" spc="50" baseline="0">
                <a:solidFill>
                  <a:schemeClr val="accent1"/>
                </a:solidFill>
                <a:latin typeface="Lato Black" panose="020F0A02020204030203" pitchFamily="34" charset="0"/>
                <a:ea typeface="Roboto" panose="02000000000000000000" pitchFamily="2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 dirty="0"/>
              <a:t>Clique para </a:t>
            </a:r>
            <a:r>
              <a:rPr lang="en-US" dirty="0" err="1"/>
              <a:t>editar</a:t>
            </a:r>
            <a:r>
              <a:rPr lang="en-US" dirty="0"/>
              <a:t> o </a:t>
            </a:r>
            <a:r>
              <a:rPr lang="en-US" dirty="0" err="1"/>
              <a:t>título</a:t>
            </a:r>
            <a:endParaRPr lang="en-US" dirty="0"/>
          </a:p>
        </p:txBody>
      </p:sp>
      <p:sp>
        <p:nvSpPr>
          <p:cNvPr id="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593725" y="959101"/>
            <a:ext cx="7953374" cy="141344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ts val="1200"/>
              </a:lnSpc>
              <a:spcBef>
                <a:spcPts val="0"/>
              </a:spcBef>
              <a:buNone/>
              <a:defRPr sz="900" b="0" cap="none" spc="0" baseline="0">
                <a:solidFill>
                  <a:schemeClr val="accent4"/>
                </a:solidFill>
                <a:latin typeface="Lato" panose="020F0502020204030203" pitchFamily="34" charset="0"/>
                <a:ea typeface="Roboto" panose="02000000000000000000" pitchFamily="2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 dirty="0"/>
              <a:t>Clique para </a:t>
            </a:r>
            <a:r>
              <a:rPr lang="en-US" dirty="0" err="1"/>
              <a:t>editar</a:t>
            </a:r>
            <a:r>
              <a:rPr lang="en-US" dirty="0"/>
              <a:t> o </a:t>
            </a:r>
            <a:r>
              <a:rPr lang="en-US" dirty="0" err="1"/>
              <a:t>subtítulo</a:t>
            </a:r>
            <a:endParaRPr lang="en-US" dirty="0"/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593725" y="492067"/>
            <a:ext cx="914400" cy="0"/>
          </a:xfrm>
          <a:prstGeom prst="line">
            <a:avLst/>
          </a:prstGeom>
          <a:ln w="28575">
            <a:solidFill>
              <a:srgbClr val="EC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593726" y="1543050"/>
            <a:ext cx="2560108" cy="2743200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FontTx/>
              <a:buNone/>
              <a:defRPr sz="800">
                <a:solidFill>
                  <a:schemeClr val="accent5"/>
                </a:solidFill>
                <a:latin typeface="Lato" panose="020F0502020204030203" pitchFamily="34" charset="0"/>
              </a:defRPr>
            </a:lvl1pPr>
          </a:lstStyle>
          <a:p>
            <a:endParaRPr lang="en-US"/>
          </a:p>
        </p:txBody>
      </p:sp>
      <p:sp>
        <p:nvSpPr>
          <p:cNvPr id="25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5985434" y="1543050"/>
            <a:ext cx="2560108" cy="1316520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FontTx/>
              <a:buNone/>
              <a:defRPr sz="800">
                <a:solidFill>
                  <a:schemeClr val="accent5"/>
                </a:solidFill>
                <a:latin typeface="Lato" panose="020F0502020204030203" pitchFamily="34" charset="0"/>
              </a:defRPr>
            </a:lvl1pPr>
          </a:lstStyle>
          <a:p>
            <a:endParaRPr lang="en-US"/>
          </a:p>
        </p:txBody>
      </p:sp>
      <p:sp>
        <p:nvSpPr>
          <p:cNvPr id="28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5985434" y="2965967"/>
            <a:ext cx="2560108" cy="1316520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FontTx/>
              <a:buNone/>
              <a:defRPr sz="800">
                <a:solidFill>
                  <a:schemeClr val="accent5"/>
                </a:solidFill>
                <a:latin typeface="Lato" panose="020F0502020204030203" pitchFamily="34" charset="0"/>
              </a:defRPr>
            </a:lvl1pPr>
          </a:lstStyle>
          <a:p>
            <a:endParaRPr lang="en-US"/>
          </a:p>
        </p:txBody>
      </p:sp>
      <p:sp>
        <p:nvSpPr>
          <p:cNvPr id="29" name="Picture Placeholder 2"/>
          <p:cNvSpPr>
            <a:spLocks noGrp="1"/>
          </p:cNvSpPr>
          <p:nvPr>
            <p:ph type="pic" sz="quarter" idx="17"/>
          </p:nvPr>
        </p:nvSpPr>
        <p:spPr>
          <a:xfrm>
            <a:off x="3291947" y="2965967"/>
            <a:ext cx="2560108" cy="1316520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FontTx/>
              <a:buNone/>
              <a:defRPr sz="800">
                <a:solidFill>
                  <a:schemeClr val="accent5"/>
                </a:solidFill>
                <a:latin typeface="Lato" panose="020F0502020204030203" pitchFamily="34" charset="0"/>
              </a:defRPr>
            </a:lvl1pPr>
          </a:lstStyle>
          <a:p>
            <a:endParaRPr lang="en-US"/>
          </a:p>
        </p:txBody>
      </p:sp>
      <p:pic>
        <p:nvPicPr>
          <p:cNvPr id="14" name="Imagem 13">
            <a:extLst>
              <a:ext uri="{FF2B5EF4-FFF2-40B4-BE49-F238E27FC236}">
                <a16:creationId xmlns:a16="http://schemas.microsoft.com/office/drawing/2014/main" id="{C6D01092-D705-405F-928F-D6ACA4300DD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7128" y="4373218"/>
            <a:ext cx="716873" cy="7702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08792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extLst>
    <p:ext uri="{DCECCB84-F9BA-43D5-87BE-67443E8EF086}">
      <p15:sldGuideLst xmlns:p15="http://schemas.microsoft.com/office/powerpoint/2012/main">
        <p15:guide id="1" orient="horz" pos="2700">
          <p15:clr>
            <a:srgbClr val="FBAE40"/>
          </p15:clr>
        </p15:guide>
        <p15:guide id="2" pos="5384">
          <p15:clr>
            <a:srgbClr val="FBAE40"/>
          </p15:clr>
        </p15:guide>
        <p15:guide id="3" pos="374">
          <p15:clr>
            <a:srgbClr val="FBAE40"/>
          </p15:clr>
        </p15:guide>
        <p15:guide id="4" orient="horz" pos="306">
          <p15:clr>
            <a:srgbClr val="FBAE40"/>
          </p15:clr>
        </p15:guide>
        <p15:guide id="5" orient="horz" pos="972">
          <p15:clr>
            <a:srgbClr val="FBAE40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com 2 foto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Picture Placeholder 2"/>
          <p:cNvSpPr>
            <a:spLocks noGrp="1"/>
          </p:cNvSpPr>
          <p:nvPr>
            <p:ph type="pic" sz="quarter" idx="17"/>
          </p:nvPr>
        </p:nvSpPr>
        <p:spPr>
          <a:xfrm>
            <a:off x="1508126" y="1543050"/>
            <a:ext cx="2546117" cy="1408417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FontTx/>
              <a:buNone/>
              <a:defRPr sz="800">
                <a:solidFill>
                  <a:schemeClr val="accent5"/>
                </a:solidFill>
                <a:latin typeface="Lato" panose="020F0502020204030203" pitchFamily="34" charset="0"/>
              </a:defRPr>
            </a:lvl1pPr>
          </a:lstStyle>
          <a:p>
            <a:endParaRPr lang="en-US"/>
          </a:p>
        </p:txBody>
      </p:sp>
      <p:sp>
        <p:nvSpPr>
          <p:cNvPr id="18" name="Picture Placeholder 2"/>
          <p:cNvSpPr>
            <a:spLocks noGrp="1"/>
          </p:cNvSpPr>
          <p:nvPr>
            <p:ph type="pic" sz="quarter" idx="18"/>
          </p:nvPr>
        </p:nvSpPr>
        <p:spPr>
          <a:xfrm>
            <a:off x="5988465" y="1543050"/>
            <a:ext cx="2546117" cy="1408417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FontTx/>
              <a:buNone/>
              <a:defRPr sz="800">
                <a:solidFill>
                  <a:schemeClr val="accent5"/>
                </a:solidFill>
                <a:latin typeface="Lato" panose="020F0502020204030203" pitchFamily="34" charset="0"/>
              </a:defRPr>
            </a:lvl1pPr>
          </a:lstStyle>
          <a:p>
            <a:endParaRPr lang="en-US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584203" y="575841"/>
            <a:ext cx="7953374" cy="383260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200" b="0" cap="all" spc="50" baseline="0">
                <a:solidFill>
                  <a:schemeClr val="accent1"/>
                </a:solidFill>
                <a:latin typeface="Lato Black" panose="020F0A02020204030203" pitchFamily="34" charset="0"/>
                <a:ea typeface="Roboto" panose="02000000000000000000" pitchFamily="2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 dirty="0"/>
              <a:t>Clique para </a:t>
            </a:r>
            <a:r>
              <a:rPr lang="en-US" dirty="0" err="1"/>
              <a:t>editar</a:t>
            </a:r>
            <a:r>
              <a:rPr lang="en-US" dirty="0"/>
              <a:t> o </a:t>
            </a:r>
            <a:r>
              <a:rPr lang="en-US" dirty="0" err="1"/>
              <a:t>título</a:t>
            </a:r>
            <a:endParaRPr lang="en-US" dirty="0"/>
          </a:p>
        </p:txBody>
      </p:sp>
      <p:sp>
        <p:nvSpPr>
          <p:cNvPr id="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593725" y="959101"/>
            <a:ext cx="7953374" cy="141344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ts val="1200"/>
              </a:lnSpc>
              <a:spcBef>
                <a:spcPts val="0"/>
              </a:spcBef>
              <a:buNone/>
              <a:defRPr sz="900" b="0" cap="none" spc="0" baseline="0">
                <a:solidFill>
                  <a:schemeClr val="accent4"/>
                </a:solidFill>
                <a:latin typeface="Lato" panose="020F0502020204030203" pitchFamily="34" charset="0"/>
                <a:ea typeface="Roboto" panose="02000000000000000000" pitchFamily="2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 dirty="0"/>
              <a:t>Clique para </a:t>
            </a:r>
            <a:r>
              <a:rPr lang="en-US" dirty="0" err="1"/>
              <a:t>editar</a:t>
            </a:r>
            <a:r>
              <a:rPr lang="en-US" dirty="0"/>
              <a:t> o </a:t>
            </a:r>
            <a:r>
              <a:rPr lang="en-US" dirty="0" err="1"/>
              <a:t>subtítulo</a:t>
            </a:r>
            <a:endParaRPr lang="en-US" dirty="0"/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593725" y="492067"/>
            <a:ext cx="914400" cy="0"/>
          </a:xfrm>
          <a:prstGeom prst="line">
            <a:avLst/>
          </a:prstGeom>
          <a:ln w="28575">
            <a:solidFill>
              <a:srgbClr val="EC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Imagem 12">
            <a:extLst>
              <a:ext uri="{FF2B5EF4-FFF2-40B4-BE49-F238E27FC236}">
                <a16:creationId xmlns:a16="http://schemas.microsoft.com/office/drawing/2014/main" id="{4AB1F524-9DCE-4EE4-B237-3C476CA8157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7128" y="4373218"/>
            <a:ext cx="716873" cy="7702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01821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extLst>
    <p:ext uri="{DCECCB84-F9BA-43D5-87BE-67443E8EF086}">
      <p15:sldGuideLst xmlns:p15="http://schemas.microsoft.com/office/powerpoint/2012/main">
        <p15:guide id="1" orient="horz" pos="2700">
          <p15:clr>
            <a:srgbClr val="FBAE40"/>
          </p15:clr>
        </p15:guide>
        <p15:guide id="2" pos="5384">
          <p15:clr>
            <a:srgbClr val="FBAE40"/>
          </p15:clr>
        </p15:guide>
        <p15:guide id="3" pos="374">
          <p15:clr>
            <a:srgbClr val="FBAE40"/>
          </p15:clr>
        </p15:guide>
        <p15:guide id="4" orient="horz" pos="306">
          <p15:clr>
            <a:srgbClr val="FBAE40"/>
          </p15:clr>
        </p15:guide>
        <p15:guide id="5" orient="horz" pos="972">
          <p15:clr>
            <a:srgbClr val="FBAE40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ckup iPhone fundo vermelh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EC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6535" y="1134684"/>
            <a:ext cx="2415741" cy="3528796"/>
          </a:xfrm>
          <a:prstGeom prst="rect">
            <a:avLst/>
          </a:prstGeom>
        </p:spPr>
      </p:pic>
      <p:sp>
        <p:nvSpPr>
          <p:cNvPr id="4" name="Picture Placeholder 25"/>
          <p:cNvSpPr>
            <a:spLocks noGrp="1"/>
          </p:cNvSpPr>
          <p:nvPr>
            <p:ph type="pic" sz="quarter" idx="14"/>
          </p:nvPr>
        </p:nvSpPr>
        <p:spPr>
          <a:xfrm>
            <a:off x="720841" y="1695551"/>
            <a:ext cx="1230200" cy="2232025"/>
          </a:xfrm>
          <a:custGeom>
            <a:avLst/>
            <a:gdLst>
              <a:gd name="connsiteX0" fmla="*/ 26656 w 4082023"/>
              <a:gd name="connsiteY0" fmla="*/ 0 h 7233920"/>
              <a:gd name="connsiteX1" fmla="*/ 4055367 w 4082023"/>
              <a:gd name="connsiteY1" fmla="*/ 0 h 7233920"/>
              <a:gd name="connsiteX2" fmla="*/ 4082023 w 4082023"/>
              <a:gd name="connsiteY2" fmla="*/ 26656 h 7233920"/>
              <a:gd name="connsiteX3" fmla="*/ 4082023 w 4082023"/>
              <a:gd name="connsiteY3" fmla="*/ 7207264 h 7233920"/>
              <a:gd name="connsiteX4" fmla="*/ 4055367 w 4082023"/>
              <a:gd name="connsiteY4" fmla="*/ 7233920 h 7233920"/>
              <a:gd name="connsiteX5" fmla="*/ 26656 w 4082023"/>
              <a:gd name="connsiteY5" fmla="*/ 7233920 h 7233920"/>
              <a:gd name="connsiteX6" fmla="*/ 0 w 4082023"/>
              <a:gd name="connsiteY6" fmla="*/ 7207264 h 7233920"/>
              <a:gd name="connsiteX7" fmla="*/ 0 w 4082023"/>
              <a:gd name="connsiteY7" fmla="*/ 26656 h 7233920"/>
              <a:gd name="connsiteX8" fmla="*/ 26656 w 4082023"/>
              <a:gd name="connsiteY8" fmla="*/ 0 h 72339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082023" h="7233920">
                <a:moveTo>
                  <a:pt x="26656" y="0"/>
                </a:moveTo>
                <a:lnTo>
                  <a:pt x="4055367" y="0"/>
                </a:lnTo>
                <a:cubicBezTo>
                  <a:pt x="4070091" y="0"/>
                  <a:pt x="4082023" y="11934"/>
                  <a:pt x="4082023" y="26656"/>
                </a:cubicBezTo>
                <a:lnTo>
                  <a:pt x="4082023" y="7207264"/>
                </a:lnTo>
                <a:cubicBezTo>
                  <a:pt x="4082023" y="7221986"/>
                  <a:pt x="4070091" y="7233920"/>
                  <a:pt x="4055367" y="7233920"/>
                </a:cubicBezTo>
                <a:lnTo>
                  <a:pt x="26656" y="7233920"/>
                </a:lnTo>
                <a:cubicBezTo>
                  <a:pt x="11934" y="7233920"/>
                  <a:pt x="0" y="7221986"/>
                  <a:pt x="0" y="7207264"/>
                </a:cubicBezTo>
                <a:lnTo>
                  <a:pt x="0" y="26656"/>
                </a:lnTo>
                <a:cubicBezTo>
                  <a:pt x="0" y="11934"/>
                  <a:pt x="11934" y="0"/>
                  <a:pt x="26656" y="0"/>
                </a:cubicBezTo>
                <a:close/>
              </a:path>
            </a:pathLst>
          </a:custGeom>
          <a:noFill/>
          <a:ln w="6350">
            <a:solidFill>
              <a:schemeClr val="accent1"/>
            </a:solidFill>
          </a:ln>
        </p:spPr>
        <p:txBody>
          <a:bodyPr wrap="square" lIns="0" tIns="0" rIns="0" bIns="0" anchor="ctr" anchorCtr="0">
            <a:noAutofit/>
          </a:bodyPr>
          <a:lstStyle>
            <a:lvl1pPr marL="0" indent="0" algn="ctr">
              <a:buFontTx/>
              <a:buNone/>
              <a:defRPr sz="800">
                <a:solidFill>
                  <a:schemeClr val="accent5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endParaRPr lang="en-US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584203" y="575841"/>
            <a:ext cx="7953374" cy="383260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200" b="0" cap="all" spc="50" baseline="0">
                <a:solidFill>
                  <a:schemeClr val="bg1"/>
                </a:solidFill>
                <a:latin typeface="Lato Black" panose="020F0A02020204030203" pitchFamily="34" charset="0"/>
                <a:ea typeface="Roboto" panose="02000000000000000000" pitchFamily="2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 dirty="0"/>
              <a:t>Clique para </a:t>
            </a:r>
            <a:r>
              <a:rPr lang="en-US" dirty="0" err="1"/>
              <a:t>editar</a:t>
            </a:r>
            <a:r>
              <a:rPr lang="en-US" dirty="0"/>
              <a:t> o </a:t>
            </a:r>
            <a:r>
              <a:rPr lang="en-US" dirty="0" err="1"/>
              <a:t>título</a:t>
            </a:r>
            <a:endParaRPr lang="en-US" dirty="0"/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593725" y="959101"/>
            <a:ext cx="7953374" cy="141344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ts val="1200"/>
              </a:lnSpc>
              <a:spcBef>
                <a:spcPts val="0"/>
              </a:spcBef>
              <a:buNone/>
              <a:defRPr sz="900" b="0" cap="none" spc="0" baseline="0">
                <a:solidFill>
                  <a:schemeClr val="bg1"/>
                </a:solidFill>
                <a:latin typeface="Lato" panose="020F0502020204030203" pitchFamily="34" charset="0"/>
                <a:ea typeface="Roboto" panose="02000000000000000000" pitchFamily="2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 dirty="0"/>
              <a:t>Clique para </a:t>
            </a:r>
            <a:r>
              <a:rPr lang="en-US" dirty="0" err="1"/>
              <a:t>editar</a:t>
            </a:r>
            <a:r>
              <a:rPr lang="en-US" dirty="0"/>
              <a:t> o </a:t>
            </a:r>
            <a:r>
              <a:rPr lang="en-US" dirty="0" err="1"/>
              <a:t>subtítulo</a:t>
            </a:r>
            <a:endParaRPr lang="en-US" dirty="0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593725" y="492067"/>
            <a:ext cx="914400" cy="0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37878" y="1134684"/>
            <a:ext cx="2415741" cy="3528796"/>
          </a:xfrm>
          <a:prstGeom prst="rect">
            <a:avLst/>
          </a:prstGeom>
        </p:spPr>
      </p:pic>
      <p:sp>
        <p:nvSpPr>
          <p:cNvPr id="15" name="Picture Placeholder 25"/>
          <p:cNvSpPr>
            <a:spLocks noGrp="1"/>
          </p:cNvSpPr>
          <p:nvPr>
            <p:ph type="pic" sz="quarter" idx="15"/>
          </p:nvPr>
        </p:nvSpPr>
        <p:spPr>
          <a:xfrm>
            <a:off x="5022183" y="1695551"/>
            <a:ext cx="1230200" cy="2232025"/>
          </a:xfrm>
          <a:custGeom>
            <a:avLst/>
            <a:gdLst>
              <a:gd name="connsiteX0" fmla="*/ 26656 w 4082023"/>
              <a:gd name="connsiteY0" fmla="*/ 0 h 7233920"/>
              <a:gd name="connsiteX1" fmla="*/ 4055367 w 4082023"/>
              <a:gd name="connsiteY1" fmla="*/ 0 h 7233920"/>
              <a:gd name="connsiteX2" fmla="*/ 4082023 w 4082023"/>
              <a:gd name="connsiteY2" fmla="*/ 26656 h 7233920"/>
              <a:gd name="connsiteX3" fmla="*/ 4082023 w 4082023"/>
              <a:gd name="connsiteY3" fmla="*/ 7207264 h 7233920"/>
              <a:gd name="connsiteX4" fmla="*/ 4055367 w 4082023"/>
              <a:gd name="connsiteY4" fmla="*/ 7233920 h 7233920"/>
              <a:gd name="connsiteX5" fmla="*/ 26656 w 4082023"/>
              <a:gd name="connsiteY5" fmla="*/ 7233920 h 7233920"/>
              <a:gd name="connsiteX6" fmla="*/ 0 w 4082023"/>
              <a:gd name="connsiteY6" fmla="*/ 7207264 h 7233920"/>
              <a:gd name="connsiteX7" fmla="*/ 0 w 4082023"/>
              <a:gd name="connsiteY7" fmla="*/ 26656 h 7233920"/>
              <a:gd name="connsiteX8" fmla="*/ 26656 w 4082023"/>
              <a:gd name="connsiteY8" fmla="*/ 0 h 72339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082023" h="7233920">
                <a:moveTo>
                  <a:pt x="26656" y="0"/>
                </a:moveTo>
                <a:lnTo>
                  <a:pt x="4055367" y="0"/>
                </a:lnTo>
                <a:cubicBezTo>
                  <a:pt x="4070091" y="0"/>
                  <a:pt x="4082023" y="11934"/>
                  <a:pt x="4082023" y="26656"/>
                </a:cubicBezTo>
                <a:lnTo>
                  <a:pt x="4082023" y="7207264"/>
                </a:lnTo>
                <a:cubicBezTo>
                  <a:pt x="4082023" y="7221986"/>
                  <a:pt x="4070091" y="7233920"/>
                  <a:pt x="4055367" y="7233920"/>
                </a:cubicBezTo>
                <a:lnTo>
                  <a:pt x="26656" y="7233920"/>
                </a:lnTo>
                <a:cubicBezTo>
                  <a:pt x="11934" y="7233920"/>
                  <a:pt x="0" y="7221986"/>
                  <a:pt x="0" y="7207264"/>
                </a:cubicBezTo>
                <a:lnTo>
                  <a:pt x="0" y="26656"/>
                </a:lnTo>
                <a:cubicBezTo>
                  <a:pt x="0" y="11934"/>
                  <a:pt x="11934" y="0"/>
                  <a:pt x="26656" y="0"/>
                </a:cubicBezTo>
                <a:close/>
              </a:path>
            </a:pathLst>
          </a:custGeom>
          <a:noFill/>
          <a:ln w="6350">
            <a:solidFill>
              <a:schemeClr val="accent1"/>
            </a:solidFill>
          </a:ln>
        </p:spPr>
        <p:txBody>
          <a:bodyPr wrap="square" lIns="0" tIns="0" rIns="0" bIns="0" anchor="ctr" anchorCtr="0">
            <a:noAutofit/>
          </a:bodyPr>
          <a:lstStyle>
            <a:lvl1pPr marL="0" indent="0" algn="ctr">
              <a:buFontTx/>
              <a:buNone/>
              <a:defRPr sz="800">
                <a:solidFill>
                  <a:schemeClr val="accent5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88548" y="1439120"/>
            <a:ext cx="2415741" cy="3528796"/>
          </a:xfrm>
          <a:prstGeom prst="rect">
            <a:avLst/>
          </a:prstGeom>
        </p:spPr>
      </p:pic>
      <p:sp>
        <p:nvSpPr>
          <p:cNvPr id="17" name="Picture Placeholder 25"/>
          <p:cNvSpPr>
            <a:spLocks noGrp="1"/>
          </p:cNvSpPr>
          <p:nvPr>
            <p:ph type="pic" sz="quarter" idx="16"/>
          </p:nvPr>
        </p:nvSpPr>
        <p:spPr>
          <a:xfrm>
            <a:off x="7172853" y="1999987"/>
            <a:ext cx="1230200" cy="2232025"/>
          </a:xfrm>
          <a:custGeom>
            <a:avLst/>
            <a:gdLst>
              <a:gd name="connsiteX0" fmla="*/ 26656 w 4082023"/>
              <a:gd name="connsiteY0" fmla="*/ 0 h 7233920"/>
              <a:gd name="connsiteX1" fmla="*/ 4055367 w 4082023"/>
              <a:gd name="connsiteY1" fmla="*/ 0 h 7233920"/>
              <a:gd name="connsiteX2" fmla="*/ 4082023 w 4082023"/>
              <a:gd name="connsiteY2" fmla="*/ 26656 h 7233920"/>
              <a:gd name="connsiteX3" fmla="*/ 4082023 w 4082023"/>
              <a:gd name="connsiteY3" fmla="*/ 7207264 h 7233920"/>
              <a:gd name="connsiteX4" fmla="*/ 4055367 w 4082023"/>
              <a:gd name="connsiteY4" fmla="*/ 7233920 h 7233920"/>
              <a:gd name="connsiteX5" fmla="*/ 26656 w 4082023"/>
              <a:gd name="connsiteY5" fmla="*/ 7233920 h 7233920"/>
              <a:gd name="connsiteX6" fmla="*/ 0 w 4082023"/>
              <a:gd name="connsiteY6" fmla="*/ 7207264 h 7233920"/>
              <a:gd name="connsiteX7" fmla="*/ 0 w 4082023"/>
              <a:gd name="connsiteY7" fmla="*/ 26656 h 7233920"/>
              <a:gd name="connsiteX8" fmla="*/ 26656 w 4082023"/>
              <a:gd name="connsiteY8" fmla="*/ 0 h 72339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082023" h="7233920">
                <a:moveTo>
                  <a:pt x="26656" y="0"/>
                </a:moveTo>
                <a:lnTo>
                  <a:pt x="4055367" y="0"/>
                </a:lnTo>
                <a:cubicBezTo>
                  <a:pt x="4070091" y="0"/>
                  <a:pt x="4082023" y="11934"/>
                  <a:pt x="4082023" y="26656"/>
                </a:cubicBezTo>
                <a:lnTo>
                  <a:pt x="4082023" y="7207264"/>
                </a:lnTo>
                <a:cubicBezTo>
                  <a:pt x="4082023" y="7221986"/>
                  <a:pt x="4070091" y="7233920"/>
                  <a:pt x="4055367" y="7233920"/>
                </a:cubicBezTo>
                <a:lnTo>
                  <a:pt x="26656" y="7233920"/>
                </a:lnTo>
                <a:cubicBezTo>
                  <a:pt x="11934" y="7233920"/>
                  <a:pt x="0" y="7221986"/>
                  <a:pt x="0" y="7207264"/>
                </a:cubicBezTo>
                <a:lnTo>
                  <a:pt x="0" y="26656"/>
                </a:lnTo>
                <a:cubicBezTo>
                  <a:pt x="0" y="11934"/>
                  <a:pt x="11934" y="0"/>
                  <a:pt x="26656" y="0"/>
                </a:cubicBezTo>
                <a:close/>
              </a:path>
            </a:pathLst>
          </a:custGeom>
          <a:noFill/>
          <a:ln w="6350">
            <a:solidFill>
              <a:schemeClr val="accent1"/>
            </a:solidFill>
          </a:ln>
        </p:spPr>
        <p:txBody>
          <a:bodyPr wrap="square" lIns="0" tIns="0" rIns="0" bIns="0" anchor="ctr" anchorCtr="0">
            <a:noAutofit/>
          </a:bodyPr>
          <a:lstStyle>
            <a:lvl1pPr marL="0" indent="0" algn="ctr">
              <a:buFontTx/>
              <a:buNone/>
              <a:defRPr sz="800">
                <a:solidFill>
                  <a:schemeClr val="accent5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87207" y="1439120"/>
            <a:ext cx="2415741" cy="3528796"/>
          </a:xfrm>
          <a:prstGeom prst="rect">
            <a:avLst/>
          </a:prstGeom>
        </p:spPr>
      </p:pic>
      <p:sp>
        <p:nvSpPr>
          <p:cNvPr id="19" name="Picture Placeholder 25"/>
          <p:cNvSpPr>
            <a:spLocks noGrp="1"/>
          </p:cNvSpPr>
          <p:nvPr>
            <p:ph type="pic" sz="quarter" idx="17"/>
          </p:nvPr>
        </p:nvSpPr>
        <p:spPr>
          <a:xfrm>
            <a:off x="2871511" y="1999987"/>
            <a:ext cx="1230200" cy="2232025"/>
          </a:xfrm>
          <a:custGeom>
            <a:avLst/>
            <a:gdLst>
              <a:gd name="connsiteX0" fmla="*/ 26656 w 4082023"/>
              <a:gd name="connsiteY0" fmla="*/ 0 h 7233920"/>
              <a:gd name="connsiteX1" fmla="*/ 4055367 w 4082023"/>
              <a:gd name="connsiteY1" fmla="*/ 0 h 7233920"/>
              <a:gd name="connsiteX2" fmla="*/ 4082023 w 4082023"/>
              <a:gd name="connsiteY2" fmla="*/ 26656 h 7233920"/>
              <a:gd name="connsiteX3" fmla="*/ 4082023 w 4082023"/>
              <a:gd name="connsiteY3" fmla="*/ 7207264 h 7233920"/>
              <a:gd name="connsiteX4" fmla="*/ 4055367 w 4082023"/>
              <a:gd name="connsiteY4" fmla="*/ 7233920 h 7233920"/>
              <a:gd name="connsiteX5" fmla="*/ 26656 w 4082023"/>
              <a:gd name="connsiteY5" fmla="*/ 7233920 h 7233920"/>
              <a:gd name="connsiteX6" fmla="*/ 0 w 4082023"/>
              <a:gd name="connsiteY6" fmla="*/ 7207264 h 7233920"/>
              <a:gd name="connsiteX7" fmla="*/ 0 w 4082023"/>
              <a:gd name="connsiteY7" fmla="*/ 26656 h 7233920"/>
              <a:gd name="connsiteX8" fmla="*/ 26656 w 4082023"/>
              <a:gd name="connsiteY8" fmla="*/ 0 h 72339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082023" h="7233920">
                <a:moveTo>
                  <a:pt x="26656" y="0"/>
                </a:moveTo>
                <a:lnTo>
                  <a:pt x="4055367" y="0"/>
                </a:lnTo>
                <a:cubicBezTo>
                  <a:pt x="4070091" y="0"/>
                  <a:pt x="4082023" y="11934"/>
                  <a:pt x="4082023" y="26656"/>
                </a:cubicBezTo>
                <a:lnTo>
                  <a:pt x="4082023" y="7207264"/>
                </a:lnTo>
                <a:cubicBezTo>
                  <a:pt x="4082023" y="7221986"/>
                  <a:pt x="4070091" y="7233920"/>
                  <a:pt x="4055367" y="7233920"/>
                </a:cubicBezTo>
                <a:lnTo>
                  <a:pt x="26656" y="7233920"/>
                </a:lnTo>
                <a:cubicBezTo>
                  <a:pt x="11934" y="7233920"/>
                  <a:pt x="0" y="7221986"/>
                  <a:pt x="0" y="7207264"/>
                </a:cubicBezTo>
                <a:lnTo>
                  <a:pt x="0" y="26656"/>
                </a:lnTo>
                <a:cubicBezTo>
                  <a:pt x="0" y="11934"/>
                  <a:pt x="11934" y="0"/>
                  <a:pt x="26656" y="0"/>
                </a:cubicBezTo>
                <a:close/>
              </a:path>
            </a:pathLst>
          </a:custGeom>
          <a:noFill/>
          <a:ln w="6350">
            <a:solidFill>
              <a:schemeClr val="accent1"/>
            </a:solidFill>
          </a:ln>
        </p:spPr>
        <p:txBody>
          <a:bodyPr wrap="square" lIns="0" tIns="0" rIns="0" bIns="0" anchor="ctr" anchorCtr="0">
            <a:noAutofit/>
          </a:bodyPr>
          <a:lstStyle>
            <a:lvl1pPr marL="0" indent="0" algn="ctr">
              <a:buFontTx/>
              <a:buNone/>
              <a:defRPr sz="800">
                <a:solidFill>
                  <a:schemeClr val="accent5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endParaRPr lang="en-US"/>
          </a:p>
        </p:txBody>
      </p:sp>
      <p:pic>
        <p:nvPicPr>
          <p:cNvPr id="20" name="Imagem 19">
            <a:extLst>
              <a:ext uri="{FF2B5EF4-FFF2-40B4-BE49-F238E27FC236}">
                <a16:creationId xmlns:a16="http://schemas.microsoft.com/office/drawing/2014/main" id="{BC652AC2-CA0C-4009-8B31-1785A15C1D5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7127" y="4373218"/>
            <a:ext cx="716873" cy="7702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17568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extLst>
    <p:ext uri="{DCECCB84-F9BA-43D5-87BE-67443E8EF086}">
      <p15:sldGuideLst xmlns:p15="http://schemas.microsoft.com/office/powerpoint/2012/main">
        <p15:guide id="1" orient="horz" pos="2934">
          <p15:clr>
            <a:srgbClr val="FBAE40"/>
          </p15:clr>
        </p15:guide>
        <p15:guide id="2" pos="5384">
          <p15:clr>
            <a:srgbClr val="FBAE40"/>
          </p15:clr>
        </p15:guide>
        <p15:guide id="3" pos="374">
          <p15:clr>
            <a:srgbClr val="FBAE40"/>
          </p15:clr>
        </p15:guide>
        <p15:guide id="4" orient="horz" pos="306">
          <p15:clr>
            <a:srgbClr val="FBAE40"/>
          </p15:clr>
        </p15:guide>
        <p15:guide id="5" orient="horz" pos="972">
          <p15:clr>
            <a:srgbClr val="FBAE40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ckup iPhone fundo vermelh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20"/>
          <p:cNvSpPr/>
          <p:nvPr userDrawn="1"/>
        </p:nvSpPr>
        <p:spPr>
          <a:xfrm>
            <a:off x="595315" y="1857487"/>
            <a:ext cx="7953374" cy="2026872"/>
          </a:xfrm>
          <a:prstGeom prst="rect">
            <a:avLst/>
          </a:prstGeom>
          <a:solidFill>
            <a:srgbClr val="EC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584203" y="575841"/>
            <a:ext cx="7953374" cy="383260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200" b="0" cap="all" spc="50" baseline="0">
                <a:solidFill>
                  <a:schemeClr val="accent1"/>
                </a:solidFill>
                <a:latin typeface="Lato Black" panose="020F0A02020204030203" pitchFamily="34" charset="0"/>
                <a:ea typeface="Roboto" panose="02000000000000000000" pitchFamily="2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 dirty="0"/>
              <a:t>Clique para </a:t>
            </a:r>
            <a:r>
              <a:rPr lang="en-US" dirty="0" err="1"/>
              <a:t>editar</a:t>
            </a:r>
            <a:r>
              <a:rPr lang="en-US" dirty="0"/>
              <a:t> o </a:t>
            </a:r>
            <a:r>
              <a:rPr lang="en-US" dirty="0" err="1"/>
              <a:t>título</a:t>
            </a:r>
            <a:endParaRPr lang="en-US" dirty="0"/>
          </a:p>
        </p:txBody>
      </p:sp>
      <p:sp>
        <p:nvSpPr>
          <p:cNvPr id="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593725" y="959101"/>
            <a:ext cx="7953374" cy="141344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ts val="1200"/>
              </a:lnSpc>
              <a:spcBef>
                <a:spcPts val="0"/>
              </a:spcBef>
              <a:buNone/>
              <a:defRPr sz="900" b="0" cap="none" spc="0" baseline="0">
                <a:solidFill>
                  <a:schemeClr val="accent4"/>
                </a:solidFill>
                <a:latin typeface="Lato" panose="020F0502020204030203" pitchFamily="34" charset="0"/>
                <a:ea typeface="Roboto" panose="02000000000000000000" pitchFamily="2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 dirty="0"/>
              <a:t>Clique para </a:t>
            </a:r>
            <a:r>
              <a:rPr lang="en-US" dirty="0" err="1"/>
              <a:t>editar</a:t>
            </a:r>
            <a:r>
              <a:rPr lang="en-US" dirty="0"/>
              <a:t> o </a:t>
            </a:r>
            <a:r>
              <a:rPr lang="en-US" dirty="0" err="1"/>
              <a:t>subtítulo</a:t>
            </a:r>
            <a:endParaRPr lang="en-US" dirty="0"/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593725" y="492067"/>
            <a:ext cx="914400" cy="0"/>
          </a:xfrm>
          <a:prstGeom prst="line">
            <a:avLst/>
          </a:prstGeom>
          <a:ln w="28575">
            <a:solidFill>
              <a:srgbClr val="EC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64130" y="1194045"/>
            <a:ext cx="2415741" cy="3528796"/>
          </a:xfrm>
          <a:prstGeom prst="rect">
            <a:avLst/>
          </a:prstGeom>
        </p:spPr>
      </p:pic>
      <p:sp>
        <p:nvSpPr>
          <p:cNvPr id="18" name="Picture Placeholder 25"/>
          <p:cNvSpPr>
            <a:spLocks noGrp="1"/>
          </p:cNvSpPr>
          <p:nvPr>
            <p:ph type="pic" sz="quarter" idx="18"/>
          </p:nvPr>
        </p:nvSpPr>
        <p:spPr>
          <a:xfrm>
            <a:off x="3961344" y="1754912"/>
            <a:ext cx="1204382" cy="2232025"/>
          </a:xfrm>
          <a:custGeom>
            <a:avLst/>
            <a:gdLst>
              <a:gd name="connsiteX0" fmla="*/ 26656 w 4082023"/>
              <a:gd name="connsiteY0" fmla="*/ 0 h 7233920"/>
              <a:gd name="connsiteX1" fmla="*/ 4055367 w 4082023"/>
              <a:gd name="connsiteY1" fmla="*/ 0 h 7233920"/>
              <a:gd name="connsiteX2" fmla="*/ 4082023 w 4082023"/>
              <a:gd name="connsiteY2" fmla="*/ 26656 h 7233920"/>
              <a:gd name="connsiteX3" fmla="*/ 4082023 w 4082023"/>
              <a:gd name="connsiteY3" fmla="*/ 7207264 h 7233920"/>
              <a:gd name="connsiteX4" fmla="*/ 4055367 w 4082023"/>
              <a:gd name="connsiteY4" fmla="*/ 7233920 h 7233920"/>
              <a:gd name="connsiteX5" fmla="*/ 26656 w 4082023"/>
              <a:gd name="connsiteY5" fmla="*/ 7233920 h 7233920"/>
              <a:gd name="connsiteX6" fmla="*/ 0 w 4082023"/>
              <a:gd name="connsiteY6" fmla="*/ 7207264 h 7233920"/>
              <a:gd name="connsiteX7" fmla="*/ 0 w 4082023"/>
              <a:gd name="connsiteY7" fmla="*/ 26656 h 7233920"/>
              <a:gd name="connsiteX8" fmla="*/ 26656 w 4082023"/>
              <a:gd name="connsiteY8" fmla="*/ 0 h 72339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082023" h="7233920">
                <a:moveTo>
                  <a:pt x="26656" y="0"/>
                </a:moveTo>
                <a:lnTo>
                  <a:pt x="4055367" y="0"/>
                </a:lnTo>
                <a:cubicBezTo>
                  <a:pt x="4070091" y="0"/>
                  <a:pt x="4082023" y="11934"/>
                  <a:pt x="4082023" y="26656"/>
                </a:cubicBezTo>
                <a:lnTo>
                  <a:pt x="4082023" y="7207264"/>
                </a:lnTo>
                <a:cubicBezTo>
                  <a:pt x="4082023" y="7221986"/>
                  <a:pt x="4070091" y="7233920"/>
                  <a:pt x="4055367" y="7233920"/>
                </a:cubicBezTo>
                <a:lnTo>
                  <a:pt x="26656" y="7233920"/>
                </a:lnTo>
                <a:cubicBezTo>
                  <a:pt x="11934" y="7233920"/>
                  <a:pt x="0" y="7221986"/>
                  <a:pt x="0" y="7207264"/>
                </a:cubicBezTo>
                <a:lnTo>
                  <a:pt x="0" y="26656"/>
                </a:lnTo>
                <a:cubicBezTo>
                  <a:pt x="0" y="11934"/>
                  <a:pt x="11934" y="0"/>
                  <a:pt x="26656" y="0"/>
                </a:cubicBezTo>
                <a:close/>
              </a:path>
            </a:pathLst>
          </a:custGeom>
          <a:noFill/>
          <a:ln w="6350">
            <a:solidFill>
              <a:schemeClr val="accent1"/>
            </a:solidFill>
          </a:ln>
        </p:spPr>
        <p:txBody>
          <a:bodyPr wrap="square" lIns="0" tIns="0" rIns="0" bIns="0" anchor="ctr" anchorCtr="0">
            <a:noAutofit/>
          </a:bodyPr>
          <a:lstStyle>
            <a:lvl1pPr marL="0" indent="0" algn="ctr">
              <a:buFontTx/>
              <a:buNone/>
              <a:defRPr sz="800">
                <a:solidFill>
                  <a:schemeClr val="accent5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3" name="Imagem 12">
            <a:extLst>
              <a:ext uri="{FF2B5EF4-FFF2-40B4-BE49-F238E27FC236}">
                <a16:creationId xmlns:a16="http://schemas.microsoft.com/office/drawing/2014/main" id="{52EE209A-39C6-4153-B412-BD57CC13281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7128" y="4373218"/>
            <a:ext cx="716873" cy="7702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41947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extLst>
    <p:ext uri="{DCECCB84-F9BA-43D5-87BE-67443E8EF086}">
      <p15:sldGuideLst xmlns:p15="http://schemas.microsoft.com/office/powerpoint/2012/main">
        <p15:guide id="1" orient="horz" pos="2700">
          <p15:clr>
            <a:srgbClr val="FBAE40"/>
          </p15:clr>
        </p15:guide>
        <p15:guide id="2" pos="5384">
          <p15:clr>
            <a:srgbClr val="FBAE40"/>
          </p15:clr>
        </p15:guide>
        <p15:guide id="3" pos="374">
          <p15:clr>
            <a:srgbClr val="FBAE40"/>
          </p15:clr>
        </p15:guide>
        <p15:guide id="4" orient="horz" pos="306">
          <p15:clr>
            <a:srgbClr val="FBAE40"/>
          </p15:clr>
        </p15:guide>
        <p15:guide id="5" orient="horz" pos="972">
          <p15:clr>
            <a:srgbClr val="FBAE40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ckup iPhone fundo vermelho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20"/>
          <p:cNvSpPr/>
          <p:nvPr userDrawn="1"/>
        </p:nvSpPr>
        <p:spPr>
          <a:xfrm>
            <a:off x="595315" y="1543051"/>
            <a:ext cx="7953374" cy="963482"/>
          </a:xfrm>
          <a:prstGeom prst="rect">
            <a:avLst/>
          </a:prstGeom>
          <a:solidFill>
            <a:srgbClr val="EC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584203" y="575841"/>
            <a:ext cx="7953374" cy="383260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200" b="0" cap="all" spc="50" baseline="0">
                <a:solidFill>
                  <a:schemeClr val="accent1"/>
                </a:solidFill>
                <a:latin typeface="Lato Black" panose="020F0A02020204030203" pitchFamily="34" charset="0"/>
                <a:ea typeface="Roboto" panose="02000000000000000000" pitchFamily="2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 dirty="0"/>
              <a:t>Clique para </a:t>
            </a:r>
            <a:r>
              <a:rPr lang="en-US" dirty="0" err="1"/>
              <a:t>editar</a:t>
            </a:r>
            <a:r>
              <a:rPr lang="en-US" dirty="0"/>
              <a:t> o </a:t>
            </a:r>
            <a:r>
              <a:rPr lang="en-US" dirty="0" err="1"/>
              <a:t>título</a:t>
            </a:r>
            <a:endParaRPr lang="en-US" dirty="0"/>
          </a:p>
        </p:txBody>
      </p:sp>
      <p:sp>
        <p:nvSpPr>
          <p:cNvPr id="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593725" y="959101"/>
            <a:ext cx="7953374" cy="141344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ts val="1200"/>
              </a:lnSpc>
              <a:spcBef>
                <a:spcPts val="0"/>
              </a:spcBef>
              <a:buNone/>
              <a:defRPr sz="900" b="0" cap="none" spc="0" baseline="0">
                <a:solidFill>
                  <a:schemeClr val="accent4"/>
                </a:solidFill>
                <a:latin typeface="Lato" panose="020F0502020204030203" pitchFamily="34" charset="0"/>
                <a:ea typeface="Roboto" panose="02000000000000000000" pitchFamily="2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 dirty="0"/>
              <a:t>Clique para </a:t>
            </a:r>
            <a:r>
              <a:rPr lang="en-US" dirty="0" err="1"/>
              <a:t>editar</a:t>
            </a:r>
            <a:r>
              <a:rPr lang="en-US" dirty="0"/>
              <a:t> o </a:t>
            </a:r>
            <a:r>
              <a:rPr lang="en-US" dirty="0" err="1"/>
              <a:t>subtítulo</a:t>
            </a:r>
            <a:endParaRPr lang="en-US" dirty="0"/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593725" y="492067"/>
            <a:ext cx="914400" cy="0"/>
          </a:xfrm>
          <a:prstGeom prst="line">
            <a:avLst/>
          </a:prstGeom>
          <a:ln w="28575">
            <a:solidFill>
              <a:srgbClr val="EC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33707" y="1142483"/>
            <a:ext cx="2415741" cy="3528796"/>
          </a:xfrm>
          <a:prstGeom prst="rect">
            <a:avLst/>
          </a:prstGeom>
        </p:spPr>
      </p:pic>
      <p:sp>
        <p:nvSpPr>
          <p:cNvPr id="14" name="Picture Placeholder 25"/>
          <p:cNvSpPr>
            <a:spLocks noGrp="1"/>
          </p:cNvSpPr>
          <p:nvPr>
            <p:ph type="pic" sz="quarter" idx="17"/>
          </p:nvPr>
        </p:nvSpPr>
        <p:spPr>
          <a:xfrm>
            <a:off x="5118012" y="1703349"/>
            <a:ext cx="1230200" cy="2232025"/>
          </a:xfrm>
          <a:custGeom>
            <a:avLst/>
            <a:gdLst>
              <a:gd name="connsiteX0" fmla="*/ 26656 w 4082023"/>
              <a:gd name="connsiteY0" fmla="*/ 0 h 7233920"/>
              <a:gd name="connsiteX1" fmla="*/ 4055367 w 4082023"/>
              <a:gd name="connsiteY1" fmla="*/ 0 h 7233920"/>
              <a:gd name="connsiteX2" fmla="*/ 4082023 w 4082023"/>
              <a:gd name="connsiteY2" fmla="*/ 26656 h 7233920"/>
              <a:gd name="connsiteX3" fmla="*/ 4082023 w 4082023"/>
              <a:gd name="connsiteY3" fmla="*/ 7207264 h 7233920"/>
              <a:gd name="connsiteX4" fmla="*/ 4055367 w 4082023"/>
              <a:gd name="connsiteY4" fmla="*/ 7233920 h 7233920"/>
              <a:gd name="connsiteX5" fmla="*/ 26656 w 4082023"/>
              <a:gd name="connsiteY5" fmla="*/ 7233920 h 7233920"/>
              <a:gd name="connsiteX6" fmla="*/ 0 w 4082023"/>
              <a:gd name="connsiteY6" fmla="*/ 7207264 h 7233920"/>
              <a:gd name="connsiteX7" fmla="*/ 0 w 4082023"/>
              <a:gd name="connsiteY7" fmla="*/ 26656 h 7233920"/>
              <a:gd name="connsiteX8" fmla="*/ 26656 w 4082023"/>
              <a:gd name="connsiteY8" fmla="*/ 0 h 72339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082023" h="7233920">
                <a:moveTo>
                  <a:pt x="26656" y="0"/>
                </a:moveTo>
                <a:lnTo>
                  <a:pt x="4055367" y="0"/>
                </a:lnTo>
                <a:cubicBezTo>
                  <a:pt x="4070091" y="0"/>
                  <a:pt x="4082023" y="11934"/>
                  <a:pt x="4082023" y="26656"/>
                </a:cubicBezTo>
                <a:lnTo>
                  <a:pt x="4082023" y="7207264"/>
                </a:lnTo>
                <a:cubicBezTo>
                  <a:pt x="4082023" y="7221986"/>
                  <a:pt x="4070091" y="7233920"/>
                  <a:pt x="4055367" y="7233920"/>
                </a:cubicBezTo>
                <a:lnTo>
                  <a:pt x="26656" y="7233920"/>
                </a:lnTo>
                <a:cubicBezTo>
                  <a:pt x="11934" y="7233920"/>
                  <a:pt x="0" y="7221986"/>
                  <a:pt x="0" y="7207264"/>
                </a:cubicBezTo>
                <a:lnTo>
                  <a:pt x="0" y="26656"/>
                </a:lnTo>
                <a:cubicBezTo>
                  <a:pt x="0" y="11934"/>
                  <a:pt x="11934" y="0"/>
                  <a:pt x="26656" y="0"/>
                </a:cubicBezTo>
                <a:close/>
              </a:path>
            </a:pathLst>
          </a:custGeom>
          <a:noFill/>
          <a:ln w="6350">
            <a:solidFill>
              <a:schemeClr val="accent1"/>
            </a:solidFill>
          </a:ln>
        </p:spPr>
        <p:txBody>
          <a:bodyPr wrap="square" lIns="0" tIns="0" rIns="0" bIns="0" anchor="ctr" anchorCtr="0">
            <a:noAutofit/>
          </a:bodyPr>
          <a:lstStyle>
            <a:lvl1pPr marL="0" indent="0" algn="ctr">
              <a:buFontTx/>
              <a:buNone/>
              <a:defRPr sz="800">
                <a:solidFill>
                  <a:schemeClr val="accent5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66264" y="1142483"/>
            <a:ext cx="2415741" cy="3528796"/>
          </a:xfrm>
          <a:prstGeom prst="rect">
            <a:avLst/>
          </a:prstGeom>
        </p:spPr>
      </p:pic>
      <p:sp>
        <p:nvSpPr>
          <p:cNvPr id="18" name="Picture Placeholder 25"/>
          <p:cNvSpPr>
            <a:spLocks noGrp="1"/>
          </p:cNvSpPr>
          <p:nvPr>
            <p:ph type="pic" sz="quarter" idx="18"/>
          </p:nvPr>
        </p:nvSpPr>
        <p:spPr>
          <a:xfrm>
            <a:off x="6750568" y="1703349"/>
            <a:ext cx="1230200" cy="2232025"/>
          </a:xfrm>
          <a:custGeom>
            <a:avLst/>
            <a:gdLst>
              <a:gd name="connsiteX0" fmla="*/ 26656 w 4082023"/>
              <a:gd name="connsiteY0" fmla="*/ 0 h 7233920"/>
              <a:gd name="connsiteX1" fmla="*/ 4055367 w 4082023"/>
              <a:gd name="connsiteY1" fmla="*/ 0 h 7233920"/>
              <a:gd name="connsiteX2" fmla="*/ 4082023 w 4082023"/>
              <a:gd name="connsiteY2" fmla="*/ 26656 h 7233920"/>
              <a:gd name="connsiteX3" fmla="*/ 4082023 w 4082023"/>
              <a:gd name="connsiteY3" fmla="*/ 7207264 h 7233920"/>
              <a:gd name="connsiteX4" fmla="*/ 4055367 w 4082023"/>
              <a:gd name="connsiteY4" fmla="*/ 7233920 h 7233920"/>
              <a:gd name="connsiteX5" fmla="*/ 26656 w 4082023"/>
              <a:gd name="connsiteY5" fmla="*/ 7233920 h 7233920"/>
              <a:gd name="connsiteX6" fmla="*/ 0 w 4082023"/>
              <a:gd name="connsiteY6" fmla="*/ 7207264 h 7233920"/>
              <a:gd name="connsiteX7" fmla="*/ 0 w 4082023"/>
              <a:gd name="connsiteY7" fmla="*/ 26656 h 7233920"/>
              <a:gd name="connsiteX8" fmla="*/ 26656 w 4082023"/>
              <a:gd name="connsiteY8" fmla="*/ 0 h 72339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082023" h="7233920">
                <a:moveTo>
                  <a:pt x="26656" y="0"/>
                </a:moveTo>
                <a:lnTo>
                  <a:pt x="4055367" y="0"/>
                </a:lnTo>
                <a:cubicBezTo>
                  <a:pt x="4070091" y="0"/>
                  <a:pt x="4082023" y="11934"/>
                  <a:pt x="4082023" y="26656"/>
                </a:cubicBezTo>
                <a:lnTo>
                  <a:pt x="4082023" y="7207264"/>
                </a:lnTo>
                <a:cubicBezTo>
                  <a:pt x="4082023" y="7221986"/>
                  <a:pt x="4070091" y="7233920"/>
                  <a:pt x="4055367" y="7233920"/>
                </a:cubicBezTo>
                <a:lnTo>
                  <a:pt x="26656" y="7233920"/>
                </a:lnTo>
                <a:cubicBezTo>
                  <a:pt x="11934" y="7233920"/>
                  <a:pt x="0" y="7221986"/>
                  <a:pt x="0" y="7207264"/>
                </a:cubicBezTo>
                <a:lnTo>
                  <a:pt x="0" y="26656"/>
                </a:lnTo>
                <a:cubicBezTo>
                  <a:pt x="0" y="11934"/>
                  <a:pt x="11934" y="0"/>
                  <a:pt x="26656" y="0"/>
                </a:cubicBezTo>
                <a:close/>
              </a:path>
            </a:pathLst>
          </a:custGeom>
          <a:noFill/>
          <a:ln w="6350">
            <a:solidFill>
              <a:schemeClr val="accent1"/>
            </a:solidFill>
          </a:ln>
        </p:spPr>
        <p:txBody>
          <a:bodyPr wrap="square" lIns="0" tIns="0" rIns="0" bIns="0" anchor="ctr" anchorCtr="0">
            <a:noAutofit/>
          </a:bodyPr>
          <a:lstStyle>
            <a:lvl1pPr marL="0" indent="0" algn="ctr">
              <a:buFontTx/>
              <a:buNone/>
              <a:defRPr sz="800">
                <a:solidFill>
                  <a:schemeClr val="accent5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9" name="Imagem 18">
            <a:extLst>
              <a:ext uri="{FF2B5EF4-FFF2-40B4-BE49-F238E27FC236}">
                <a16:creationId xmlns:a16="http://schemas.microsoft.com/office/drawing/2014/main" id="{C8C81356-6A91-4D54-A932-3D8DD43F63E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7128" y="4373218"/>
            <a:ext cx="716873" cy="7702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65742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extLst>
    <p:ext uri="{DCECCB84-F9BA-43D5-87BE-67443E8EF086}">
      <p15:sldGuideLst xmlns:p15="http://schemas.microsoft.com/office/powerpoint/2012/main">
        <p15:guide id="1" orient="horz" pos="2700">
          <p15:clr>
            <a:srgbClr val="FBAE40"/>
          </p15:clr>
        </p15:guide>
        <p15:guide id="2" pos="5384">
          <p15:clr>
            <a:srgbClr val="FBAE40"/>
          </p15:clr>
        </p15:guide>
        <p15:guide id="3" pos="374">
          <p15:clr>
            <a:srgbClr val="FBAE40"/>
          </p15:clr>
        </p15:guide>
        <p15:guide id="4" orient="horz" pos="306">
          <p15:clr>
            <a:srgbClr val="FBAE40"/>
          </p15:clr>
        </p15:guide>
        <p15:guide id="5" orient="horz" pos="972">
          <p15:clr>
            <a:srgbClr val="FBAE4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ckup iPhone fundo branc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584203" y="575841"/>
            <a:ext cx="7953374" cy="383260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200" b="0" cap="all" spc="50" baseline="0">
                <a:solidFill>
                  <a:schemeClr val="accent1"/>
                </a:solidFill>
                <a:latin typeface="Lato Black" panose="020F0A02020204030203" pitchFamily="34" charset="0"/>
                <a:ea typeface="Roboto" panose="02000000000000000000" pitchFamily="2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 dirty="0"/>
              <a:t>Clique para </a:t>
            </a:r>
            <a:r>
              <a:rPr lang="en-US" dirty="0" err="1"/>
              <a:t>editar</a:t>
            </a:r>
            <a:r>
              <a:rPr lang="en-US" dirty="0"/>
              <a:t> o </a:t>
            </a:r>
            <a:r>
              <a:rPr lang="en-US" dirty="0" err="1"/>
              <a:t>título</a:t>
            </a:r>
            <a:endParaRPr lang="en-US" dirty="0"/>
          </a:p>
        </p:txBody>
      </p:sp>
      <p:sp>
        <p:nvSpPr>
          <p:cNvPr id="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593725" y="959101"/>
            <a:ext cx="7953374" cy="141344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ts val="1200"/>
              </a:lnSpc>
              <a:spcBef>
                <a:spcPts val="0"/>
              </a:spcBef>
              <a:buNone/>
              <a:defRPr sz="900" b="0" cap="none" spc="0" baseline="0">
                <a:solidFill>
                  <a:schemeClr val="accent4"/>
                </a:solidFill>
                <a:latin typeface="Lato" panose="020F0502020204030203" pitchFamily="34" charset="0"/>
                <a:ea typeface="Roboto" panose="02000000000000000000" pitchFamily="2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 dirty="0"/>
              <a:t>Clique para </a:t>
            </a:r>
            <a:r>
              <a:rPr lang="en-US" dirty="0" err="1"/>
              <a:t>editar</a:t>
            </a:r>
            <a:r>
              <a:rPr lang="en-US" dirty="0"/>
              <a:t> o </a:t>
            </a:r>
            <a:r>
              <a:rPr lang="en-US" dirty="0" err="1"/>
              <a:t>subtítulo</a:t>
            </a:r>
            <a:endParaRPr lang="en-US" dirty="0"/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593725" y="492067"/>
            <a:ext cx="914400" cy="0"/>
          </a:xfrm>
          <a:prstGeom prst="line">
            <a:avLst/>
          </a:prstGeom>
          <a:ln w="28575">
            <a:solidFill>
              <a:srgbClr val="EC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71767" y="1194045"/>
            <a:ext cx="2415741" cy="3528796"/>
          </a:xfrm>
          <a:prstGeom prst="rect">
            <a:avLst/>
          </a:prstGeom>
        </p:spPr>
      </p:pic>
      <p:sp>
        <p:nvSpPr>
          <p:cNvPr id="14" name="Picture Placeholder 25"/>
          <p:cNvSpPr>
            <a:spLocks noGrp="1"/>
          </p:cNvSpPr>
          <p:nvPr>
            <p:ph type="pic" sz="quarter" idx="17"/>
          </p:nvPr>
        </p:nvSpPr>
        <p:spPr>
          <a:xfrm>
            <a:off x="2156071" y="1754912"/>
            <a:ext cx="1230200" cy="2232025"/>
          </a:xfrm>
          <a:custGeom>
            <a:avLst/>
            <a:gdLst>
              <a:gd name="connsiteX0" fmla="*/ 26656 w 4082023"/>
              <a:gd name="connsiteY0" fmla="*/ 0 h 7233920"/>
              <a:gd name="connsiteX1" fmla="*/ 4055367 w 4082023"/>
              <a:gd name="connsiteY1" fmla="*/ 0 h 7233920"/>
              <a:gd name="connsiteX2" fmla="*/ 4082023 w 4082023"/>
              <a:gd name="connsiteY2" fmla="*/ 26656 h 7233920"/>
              <a:gd name="connsiteX3" fmla="*/ 4082023 w 4082023"/>
              <a:gd name="connsiteY3" fmla="*/ 7207264 h 7233920"/>
              <a:gd name="connsiteX4" fmla="*/ 4055367 w 4082023"/>
              <a:gd name="connsiteY4" fmla="*/ 7233920 h 7233920"/>
              <a:gd name="connsiteX5" fmla="*/ 26656 w 4082023"/>
              <a:gd name="connsiteY5" fmla="*/ 7233920 h 7233920"/>
              <a:gd name="connsiteX6" fmla="*/ 0 w 4082023"/>
              <a:gd name="connsiteY6" fmla="*/ 7207264 h 7233920"/>
              <a:gd name="connsiteX7" fmla="*/ 0 w 4082023"/>
              <a:gd name="connsiteY7" fmla="*/ 26656 h 7233920"/>
              <a:gd name="connsiteX8" fmla="*/ 26656 w 4082023"/>
              <a:gd name="connsiteY8" fmla="*/ 0 h 72339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082023" h="7233920">
                <a:moveTo>
                  <a:pt x="26656" y="0"/>
                </a:moveTo>
                <a:lnTo>
                  <a:pt x="4055367" y="0"/>
                </a:lnTo>
                <a:cubicBezTo>
                  <a:pt x="4070091" y="0"/>
                  <a:pt x="4082023" y="11934"/>
                  <a:pt x="4082023" y="26656"/>
                </a:cubicBezTo>
                <a:lnTo>
                  <a:pt x="4082023" y="7207264"/>
                </a:lnTo>
                <a:cubicBezTo>
                  <a:pt x="4082023" y="7221986"/>
                  <a:pt x="4070091" y="7233920"/>
                  <a:pt x="4055367" y="7233920"/>
                </a:cubicBezTo>
                <a:lnTo>
                  <a:pt x="26656" y="7233920"/>
                </a:lnTo>
                <a:cubicBezTo>
                  <a:pt x="11934" y="7233920"/>
                  <a:pt x="0" y="7221986"/>
                  <a:pt x="0" y="7207264"/>
                </a:cubicBezTo>
                <a:lnTo>
                  <a:pt x="0" y="26656"/>
                </a:lnTo>
                <a:cubicBezTo>
                  <a:pt x="0" y="11934"/>
                  <a:pt x="11934" y="0"/>
                  <a:pt x="26656" y="0"/>
                </a:cubicBezTo>
                <a:close/>
              </a:path>
            </a:pathLst>
          </a:custGeom>
          <a:noFill/>
          <a:ln w="6350">
            <a:solidFill>
              <a:schemeClr val="accent1"/>
            </a:solidFill>
          </a:ln>
        </p:spPr>
        <p:txBody>
          <a:bodyPr wrap="square" lIns="0" tIns="0" rIns="0" bIns="0" anchor="ctr" anchorCtr="0">
            <a:noAutofit/>
          </a:bodyPr>
          <a:lstStyle>
            <a:lvl1pPr marL="0" indent="0" algn="ctr">
              <a:buFontTx/>
              <a:buNone/>
              <a:defRPr sz="800">
                <a:solidFill>
                  <a:schemeClr val="accent5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04323" y="1194045"/>
            <a:ext cx="2415741" cy="3528796"/>
          </a:xfrm>
          <a:prstGeom prst="rect">
            <a:avLst/>
          </a:prstGeom>
        </p:spPr>
      </p:pic>
      <p:sp>
        <p:nvSpPr>
          <p:cNvPr id="18" name="Picture Placeholder 25"/>
          <p:cNvSpPr>
            <a:spLocks noGrp="1"/>
          </p:cNvSpPr>
          <p:nvPr>
            <p:ph type="pic" sz="quarter" idx="18"/>
          </p:nvPr>
        </p:nvSpPr>
        <p:spPr>
          <a:xfrm>
            <a:off x="3788629" y="1754912"/>
            <a:ext cx="1230200" cy="2232025"/>
          </a:xfrm>
          <a:custGeom>
            <a:avLst/>
            <a:gdLst>
              <a:gd name="connsiteX0" fmla="*/ 26656 w 4082023"/>
              <a:gd name="connsiteY0" fmla="*/ 0 h 7233920"/>
              <a:gd name="connsiteX1" fmla="*/ 4055367 w 4082023"/>
              <a:gd name="connsiteY1" fmla="*/ 0 h 7233920"/>
              <a:gd name="connsiteX2" fmla="*/ 4082023 w 4082023"/>
              <a:gd name="connsiteY2" fmla="*/ 26656 h 7233920"/>
              <a:gd name="connsiteX3" fmla="*/ 4082023 w 4082023"/>
              <a:gd name="connsiteY3" fmla="*/ 7207264 h 7233920"/>
              <a:gd name="connsiteX4" fmla="*/ 4055367 w 4082023"/>
              <a:gd name="connsiteY4" fmla="*/ 7233920 h 7233920"/>
              <a:gd name="connsiteX5" fmla="*/ 26656 w 4082023"/>
              <a:gd name="connsiteY5" fmla="*/ 7233920 h 7233920"/>
              <a:gd name="connsiteX6" fmla="*/ 0 w 4082023"/>
              <a:gd name="connsiteY6" fmla="*/ 7207264 h 7233920"/>
              <a:gd name="connsiteX7" fmla="*/ 0 w 4082023"/>
              <a:gd name="connsiteY7" fmla="*/ 26656 h 7233920"/>
              <a:gd name="connsiteX8" fmla="*/ 26656 w 4082023"/>
              <a:gd name="connsiteY8" fmla="*/ 0 h 72339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082023" h="7233920">
                <a:moveTo>
                  <a:pt x="26656" y="0"/>
                </a:moveTo>
                <a:lnTo>
                  <a:pt x="4055367" y="0"/>
                </a:lnTo>
                <a:cubicBezTo>
                  <a:pt x="4070091" y="0"/>
                  <a:pt x="4082023" y="11934"/>
                  <a:pt x="4082023" y="26656"/>
                </a:cubicBezTo>
                <a:lnTo>
                  <a:pt x="4082023" y="7207264"/>
                </a:lnTo>
                <a:cubicBezTo>
                  <a:pt x="4082023" y="7221986"/>
                  <a:pt x="4070091" y="7233920"/>
                  <a:pt x="4055367" y="7233920"/>
                </a:cubicBezTo>
                <a:lnTo>
                  <a:pt x="26656" y="7233920"/>
                </a:lnTo>
                <a:cubicBezTo>
                  <a:pt x="11934" y="7233920"/>
                  <a:pt x="0" y="7221986"/>
                  <a:pt x="0" y="7207264"/>
                </a:cubicBezTo>
                <a:lnTo>
                  <a:pt x="0" y="26656"/>
                </a:lnTo>
                <a:cubicBezTo>
                  <a:pt x="0" y="11934"/>
                  <a:pt x="11934" y="0"/>
                  <a:pt x="26656" y="0"/>
                </a:cubicBezTo>
                <a:close/>
              </a:path>
            </a:pathLst>
          </a:custGeom>
          <a:noFill/>
          <a:ln w="6350">
            <a:solidFill>
              <a:schemeClr val="accent1"/>
            </a:solidFill>
          </a:ln>
        </p:spPr>
        <p:txBody>
          <a:bodyPr wrap="square" lIns="0" tIns="0" rIns="0" bIns="0" anchor="ctr" anchorCtr="0">
            <a:noAutofit/>
          </a:bodyPr>
          <a:lstStyle>
            <a:lvl1pPr marL="0" indent="0" algn="ctr">
              <a:buFontTx/>
              <a:buNone/>
              <a:defRPr sz="800">
                <a:solidFill>
                  <a:schemeClr val="accent5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53812" y="1194045"/>
            <a:ext cx="2415741" cy="3528796"/>
          </a:xfrm>
          <a:prstGeom prst="rect">
            <a:avLst/>
          </a:prstGeom>
        </p:spPr>
      </p:pic>
      <p:sp>
        <p:nvSpPr>
          <p:cNvPr id="20" name="Picture Placeholder 25"/>
          <p:cNvSpPr>
            <a:spLocks noGrp="1"/>
          </p:cNvSpPr>
          <p:nvPr>
            <p:ph type="pic" sz="quarter" idx="19"/>
          </p:nvPr>
        </p:nvSpPr>
        <p:spPr>
          <a:xfrm>
            <a:off x="5438116" y="1754912"/>
            <a:ext cx="1230200" cy="2232025"/>
          </a:xfrm>
          <a:custGeom>
            <a:avLst/>
            <a:gdLst>
              <a:gd name="connsiteX0" fmla="*/ 26656 w 4082023"/>
              <a:gd name="connsiteY0" fmla="*/ 0 h 7233920"/>
              <a:gd name="connsiteX1" fmla="*/ 4055367 w 4082023"/>
              <a:gd name="connsiteY1" fmla="*/ 0 h 7233920"/>
              <a:gd name="connsiteX2" fmla="*/ 4082023 w 4082023"/>
              <a:gd name="connsiteY2" fmla="*/ 26656 h 7233920"/>
              <a:gd name="connsiteX3" fmla="*/ 4082023 w 4082023"/>
              <a:gd name="connsiteY3" fmla="*/ 7207264 h 7233920"/>
              <a:gd name="connsiteX4" fmla="*/ 4055367 w 4082023"/>
              <a:gd name="connsiteY4" fmla="*/ 7233920 h 7233920"/>
              <a:gd name="connsiteX5" fmla="*/ 26656 w 4082023"/>
              <a:gd name="connsiteY5" fmla="*/ 7233920 h 7233920"/>
              <a:gd name="connsiteX6" fmla="*/ 0 w 4082023"/>
              <a:gd name="connsiteY6" fmla="*/ 7207264 h 7233920"/>
              <a:gd name="connsiteX7" fmla="*/ 0 w 4082023"/>
              <a:gd name="connsiteY7" fmla="*/ 26656 h 7233920"/>
              <a:gd name="connsiteX8" fmla="*/ 26656 w 4082023"/>
              <a:gd name="connsiteY8" fmla="*/ 0 h 72339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082023" h="7233920">
                <a:moveTo>
                  <a:pt x="26656" y="0"/>
                </a:moveTo>
                <a:lnTo>
                  <a:pt x="4055367" y="0"/>
                </a:lnTo>
                <a:cubicBezTo>
                  <a:pt x="4070091" y="0"/>
                  <a:pt x="4082023" y="11934"/>
                  <a:pt x="4082023" y="26656"/>
                </a:cubicBezTo>
                <a:lnTo>
                  <a:pt x="4082023" y="7207264"/>
                </a:lnTo>
                <a:cubicBezTo>
                  <a:pt x="4082023" y="7221986"/>
                  <a:pt x="4070091" y="7233920"/>
                  <a:pt x="4055367" y="7233920"/>
                </a:cubicBezTo>
                <a:lnTo>
                  <a:pt x="26656" y="7233920"/>
                </a:lnTo>
                <a:cubicBezTo>
                  <a:pt x="11934" y="7233920"/>
                  <a:pt x="0" y="7221986"/>
                  <a:pt x="0" y="7207264"/>
                </a:cubicBezTo>
                <a:lnTo>
                  <a:pt x="0" y="26656"/>
                </a:lnTo>
                <a:cubicBezTo>
                  <a:pt x="0" y="11934"/>
                  <a:pt x="11934" y="0"/>
                  <a:pt x="26656" y="0"/>
                </a:cubicBezTo>
                <a:close/>
              </a:path>
            </a:pathLst>
          </a:custGeom>
          <a:noFill/>
          <a:ln w="6350">
            <a:solidFill>
              <a:schemeClr val="accent1"/>
            </a:solidFill>
          </a:ln>
        </p:spPr>
        <p:txBody>
          <a:bodyPr wrap="square" lIns="0" tIns="0" rIns="0" bIns="0" anchor="ctr" anchorCtr="0">
            <a:noAutofit/>
          </a:bodyPr>
          <a:lstStyle>
            <a:lvl1pPr marL="0" indent="0" algn="ctr">
              <a:buFontTx/>
              <a:buNone/>
              <a:defRPr sz="800">
                <a:solidFill>
                  <a:schemeClr val="accent5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endParaRPr lang="en-US"/>
          </a:p>
        </p:txBody>
      </p:sp>
      <p:pic>
        <p:nvPicPr>
          <p:cNvPr id="21" name="Imagem 20">
            <a:extLst>
              <a:ext uri="{FF2B5EF4-FFF2-40B4-BE49-F238E27FC236}">
                <a16:creationId xmlns:a16="http://schemas.microsoft.com/office/drawing/2014/main" id="{34AF7096-8286-42D0-9039-E3AE08A1F70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7128" y="4373218"/>
            <a:ext cx="716873" cy="7702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81106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extLst>
    <p:ext uri="{DCECCB84-F9BA-43D5-87BE-67443E8EF086}">
      <p15:sldGuideLst xmlns:p15="http://schemas.microsoft.com/office/powerpoint/2012/main">
        <p15:guide id="1" orient="horz" pos="2700">
          <p15:clr>
            <a:srgbClr val="FBAE40"/>
          </p15:clr>
        </p15:guide>
        <p15:guide id="2" pos="5384">
          <p15:clr>
            <a:srgbClr val="FBAE40"/>
          </p15:clr>
        </p15:guide>
        <p15:guide id="3" pos="374">
          <p15:clr>
            <a:srgbClr val="FBAE40"/>
          </p15:clr>
        </p15:guide>
        <p15:guide id="4" orient="horz" pos="306">
          <p15:clr>
            <a:srgbClr val="FBAE40"/>
          </p15:clr>
        </p15:guide>
        <p15:guide id="5" orient="horz" pos="972">
          <p15:clr>
            <a:srgbClr val="FBAE4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ckup iPhone fundo branco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Picture 28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90362" y="1100444"/>
            <a:ext cx="2918752" cy="4043055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584203" y="575841"/>
            <a:ext cx="7953374" cy="383260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200" b="0" cap="all" spc="50" baseline="0">
                <a:solidFill>
                  <a:schemeClr val="accent1"/>
                </a:solidFill>
                <a:latin typeface="Lato Black" panose="020F0A02020204030203" pitchFamily="34" charset="0"/>
                <a:ea typeface="Roboto" panose="02000000000000000000" pitchFamily="2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 dirty="0"/>
              <a:t>Clique para </a:t>
            </a:r>
            <a:r>
              <a:rPr lang="en-US" dirty="0" err="1"/>
              <a:t>editar</a:t>
            </a:r>
            <a:r>
              <a:rPr lang="en-US" dirty="0"/>
              <a:t> o </a:t>
            </a:r>
            <a:r>
              <a:rPr lang="en-US" dirty="0" err="1"/>
              <a:t>título</a:t>
            </a:r>
            <a:endParaRPr lang="en-US" dirty="0"/>
          </a:p>
        </p:txBody>
      </p:sp>
      <p:sp>
        <p:nvSpPr>
          <p:cNvPr id="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593725" y="959101"/>
            <a:ext cx="7953374" cy="141344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ts val="1200"/>
              </a:lnSpc>
              <a:spcBef>
                <a:spcPts val="0"/>
              </a:spcBef>
              <a:buNone/>
              <a:defRPr sz="900" b="0" cap="none" spc="0" baseline="0">
                <a:solidFill>
                  <a:schemeClr val="accent4"/>
                </a:solidFill>
                <a:latin typeface="Lato" panose="020F0502020204030203" pitchFamily="34" charset="0"/>
                <a:ea typeface="Roboto" panose="02000000000000000000" pitchFamily="2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 dirty="0"/>
              <a:t>Clique para </a:t>
            </a:r>
            <a:r>
              <a:rPr lang="en-US" dirty="0" err="1"/>
              <a:t>editar</a:t>
            </a:r>
            <a:r>
              <a:rPr lang="en-US" dirty="0"/>
              <a:t> o </a:t>
            </a:r>
            <a:r>
              <a:rPr lang="en-US" dirty="0" err="1"/>
              <a:t>subtítulo</a:t>
            </a:r>
            <a:endParaRPr lang="en-US" dirty="0"/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593725" y="492067"/>
            <a:ext cx="914400" cy="0"/>
          </a:xfrm>
          <a:prstGeom prst="line">
            <a:avLst/>
          </a:prstGeom>
          <a:ln w="28575">
            <a:solidFill>
              <a:srgbClr val="EC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Picture Placeholder 25"/>
          <p:cNvSpPr>
            <a:spLocks noGrp="1"/>
          </p:cNvSpPr>
          <p:nvPr>
            <p:ph type="pic" sz="quarter" idx="17"/>
          </p:nvPr>
        </p:nvSpPr>
        <p:spPr>
          <a:xfrm>
            <a:off x="5278967" y="1689101"/>
            <a:ext cx="2209799" cy="3454399"/>
          </a:xfrm>
          <a:custGeom>
            <a:avLst/>
            <a:gdLst>
              <a:gd name="connsiteX0" fmla="*/ 26656 w 4082023"/>
              <a:gd name="connsiteY0" fmla="*/ 0 h 7233920"/>
              <a:gd name="connsiteX1" fmla="*/ 4055367 w 4082023"/>
              <a:gd name="connsiteY1" fmla="*/ 0 h 7233920"/>
              <a:gd name="connsiteX2" fmla="*/ 4082023 w 4082023"/>
              <a:gd name="connsiteY2" fmla="*/ 26656 h 7233920"/>
              <a:gd name="connsiteX3" fmla="*/ 4082023 w 4082023"/>
              <a:gd name="connsiteY3" fmla="*/ 7207264 h 7233920"/>
              <a:gd name="connsiteX4" fmla="*/ 4055367 w 4082023"/>
              <a:gd name="connsiteY4" fmla="*/ 7233920 h 7233920"/>
              <a:gd name="connsiteX5" fmla="*/ 26656 w 4082023"/>
              <a:gd name="connsiteY5" fmla="*/ 7233920 h 7233920"/>
              <a:gd name="connsiteX6" fmla="*/ 0 w 4082023"/>
              <a:gd name="connsiteY6" fmla="*/ 7207264 h 7233920"/>
              <a:gd name="connsiteX7" fmla="*/ 0 w 4082023"/>
              <a:gd name="connsiteY7" fmla="*/ 26656 h 7233920"/>
              <a:gd name="connsiteX8" fmla="*/ 26656 w 4082023"/>
              <a:gd name="connsiteY8" fmla="*/ 0 h 72339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082023" h="7233920">
                <a:moveTo>
                  <a:pt x="26656" y="0"/>
                </a:moveTo>
                <a:lnTo>
                  <a:pt x="4055367" y="0"/>
                </a:lnTo>
                <a:cubicBezTo>
                  <a:pt x="4070091" y="0"/>
                  <a:pt x="4082023" y="11934"/>
                  <a:pt x="4082023" y="26656"/>
                </a:cubicBezTo>
                <a:lnTo>
                  <a:pt x="4082023" y="7207264"/>
                </a:lnTo>
                <a:cubicBezTo>
                  <a:pt x="4082023" y="7221986"/>
                  <a:pt x="4070091" y="7233920"/>
                  <a:pt x="4055367" y="7233920"/>
                </a:cubicBezTo>
                <a:lnTo>
                  <a:pt x="26656" y="7233920"/>
                </a:lnTo>
                <a:cubicBezTo>
                  <a:pt x="11934" y="7233920"/>
                  <a:pt x="0" y="7221986"/>
                  <a:pt x="0" y="7207264"/>
                </a:cubicBezTo>
                <a:lnTo>
                  <a:pt x="0" y="26656"/>
                </a:lnTo>
                <a:cubicBezTo>
                  <a:pt x="0" y="11934"/>
                  <a:pt x="11934" y="0"/>
                  <a:pt x="26656" y="0"/>
                </a:cubicBezTo>
                <a:close/>
              </a:path>
            </a:pathLst>
          </a:custGeom>
          <a:noFill/>
          <a:ln w="6350">
            <a:solidFill>
              <a:schemeClr val="accent1"/>
            </a:solidFill>
          </a:ln>
        </p:spPr>
        <p:txBody>
          <a:bodyPr wrap="square" lIns="0" tIns="0" rIns="0" bIns="0" anchor="ctr" anchorCtr="0">
            <a:noAutofit/>
          </a:bodyPr>
          <a:lstStyle>
            <a:lvl1pPr marL="0" indent="0" algn="ctr">
              <a:buFontTx/>
              <a:buNone/>
              <a:defRPr sz="800">
                <a:solidFill>
                  <a:schemeClr val="accent5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1" name="Imagem 10">
            <a:extLst>
              <a:ext uri="{FF2B5EF4-FFF2-40B4-BE49-F238E27FC236}">
                <a16:creationId xmlns:a16="http://schemas.microsoft.com/office/drawing/2014/main" id="{B4D3E290-753A-4EAC-B71D-DDFFAA6CB73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7128" y="4373218"/>
            <a:ext cx="716873" cy="7702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59719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extLst>
    <p:ext uri="{DCECCB84-F9BA-43D5-87BE-67443E8EF086}">
      <p15:sldGuideLst xmlns:p15="http://schemas.microsoft.com/office/powerpoint/2012/main">
        <p15:guide id="1" orient="horz" pos="2700">
          <p15:clr>
            <a:srgbClr val="FBAE40"/>
          </p15:clr>
        </p15:guide>
        <p15:guide id="2" pos="5384">
          <p15:clr>
            <a:srgbClr val="FBAE40"/>
          </p15:clr>
        </p15:guide>
        <p15:guide id="3" pos="374">
          <p15:clr>
            <a:srgbClr val="FBAE40"/>
          </p15:clr>
        </p15:guide>
        <p15:guide id="4" orient="horz" pos="306">
          <p15:clr>
            <a:srgbClr val="FBAE40"/>
          </p15:clr>
        </p15:guide>
        <p15:guide id="5" orient="horz" pos="972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emf"/><Relationship Id="rId3" Type="http://schemas.openxmlformats.org/officeDocument/2006/relationships/slideLayout" Target="../slideLayouts/slideLayout27.xml"/><Relationship Id="rId7" Type="http://schemas.openxmlformats.org/officeDocument/2006/relationships/oleObject" Target="../embeddings/oleObject2.bin"/><Relationship Id="rId2" Type="http://schemas.openxmlformats.org/officeDocument/2006/relationships/slideLayout" Target="../slideLayouts/slideLayout26.xml"/><Relationship Id="rId1" Type="http://schemas.openxmlformats.org/officeDocument/2006/relationships/slideLayout" Target="../slideLayouts/slideLayout25.xml"/><Relationship Id="rId6" Type="http://schemas.openxmlformats.org/officeDocument/2006/relationships/tags" Target="../tags/tag2.xml"/><Relationship Id="rId5" Type="http://schemas.openxmlformats.org/officeDocument/2006/relationships/vmlDrawing" Target="../drawings/vmlDrawing2.vml"/><Relationship Id="rId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5.xml"/><Relationship Id="rId13" Type="http://schemas.openxmlformats.org/officeDocument/2006/relationships/slideLayout" Target="../slideLayouts/slideLayout40.xml"/><Relationship Id="rId18" Type="http://schemas.openxmlformats.org/officeDocument/2006/relationships/slideLayout" Target="../slideLayouts/slideLayout45.xml"/><Relationship Id="rId3" Type="http://schemas.openxmlformats.org/officeDocument/2006/relationships/slideLayout" Target="../slideLayouts/slideLayout30.xml"/><Relationship Id="rId21" Type="http://schemas.openxmlformats.org/officeDocument/2006/relationships/theme" Target="../theme/theme3.xml"/><Relationship Id="rId7" Type="http://schemas.openxmlformats.org/officeDocument/2006/relationships/slideLayout" Target="../slideLayouts/slideLayout34.xml"/><Relationship Id="rId12" Type="http://schemas.openxmlformats.org/officeDocument/2006/relationships/slideLayout" Target="../slideLayouts/slideLayout39.xml"/><Relationship Id="rId17" Type="http://schemas.openxmlformats.org/officeDocument/2006/relationships/slideLayout" Target="../slideLayouts/slideLayout44.xml"/><Relationship Id="rId25" Type="http://schemas.openxmlformats.org/officeDocument/2006/relationships/image" Target="../media/image11.emf"/><Relationship Id="rId2" Type="http://schemas.openxmlformats.org/officeDocument/2006/relationships/slideLayout" Target="../slideLayouts/slideLayout29.xml"/><Relationship Id="rId16" Type="http://schemas.openxmlformats.org/officeDocument/2006/relationships/slideLayout" Target="../slideLayouts/slideLayout43.xml"/><Relationship Id="rId20" Type="http://schemas.openxmlformats.org/officeDocument/2006/relationships/slideLayout" Target="../slideLayouts/slideLayout47.xml"/><Relationship Id="rId1" Type="http://schemas.openxmlformats.org/officeDocument/2006/relationships/slideLayout" Target="../slideLayouts/slideLayout28.xml"/><Relationship Id="rId6" Type="http://schemas.openxmlformats.org/officeDocument/2006/relationships/slideLayout" Target="../slideLayouts/slideLayout33.xml"/><Relationship Id="rId11" Type="http://schemas.openxmlformats.org/officeDocument/2006/relationships/slideLayout" Target="../slideLayouts/slideLayout38.xml"/><Relationship Id="rId24" Type="http://schemas.openxmlformats.org/officeDocument/2006/relationships/oleObject" Target="../embeddings/oleObject4.bin"/><Relationship Id="rId5" Type="http://schemas.openxmlformats.org/officeDocument/2006/relationships/slideLayout" Target="../slideLayouts/slideLayout32.xml"/><Relationship Id="rId15" Type="http://schemas.openxmlformats.org/officeDocument/2006/relationships/slideLayout" Target="../slideLayouts/slideLayout42.xml"/><Relationship Id="rId23" Type="http://schemas.openxmlformats.org/officeDocument/2006/relationships/tags" Target="../tags/tag4.xml"/><Relationship Id="rId10" Type="http://schemas.openxmlformats.org/officeDocument/2006/relationships/slideLayout" Target="../slideLayouts/slideLayout37.xml"/><Relationship Id="rId19" Type="http://schemas.openxmlformats.org/officeDocument/2006/relationships/slideLayout" Target="../slideLayouts/slideLayout46.xml"/><Relationship Id="rId4" Type="http://schemas.openxmlformats.org/officeDocument/2006/relationships/slideLayout" Target="../slideLayouts/slideLayout31.xml"/><Relationship Id="rId9" Type="http://schemas.openxmlformats.org/officeDocument/2006/relationships/slideLayout" Target="../slideLayouts/slideLayout36.xml"/><Relationship Id="rId14" Type="http://schemas.openxmlformats.org/officeDocument/2006/relationships/slideLayout" Target="../slideLayouts/slideLayout41.xml"/><Relationship Id="rId22" Type="http://schemas.openxmlformats.org/officeDocument/2006/relationships/vmlDrawing" Target="../drawings/vmlDrawing4.v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heme" Target="../theme/theme4.xml"/><Relationship Id="rId3" Type="http://schemas.openxmlformats.org/officeDocument/2006/relationships/slideLayout" Target="../slideLayouts/slideLayout50.xml"/><Relationship Id="rId7" Type="http://schemas.openxmlformats.org/officeDocument/2006/relationships/slideLayout" Target="../slideLayouts/slideLayout54.xml"/><Relationship Id="rId2" Type="http://schemas.openxmlformats.org/officeDocument/2006/relationships/slideLayout" Target="../slideLayouts/slideLayout49.xml"/><Relationship Id="rId1" Type="http://schemas.openxmlformats.org/officeDocument/2006/relationships/slideLayout" Target="../slideLayouts/slideLayout48.xml"/><Relationship Id="rId6" Type="http://schemas.openxmlformats.org/officeDocument/2006/relationships/slideLayout" Target="../slideLayouts/slideLayout53.xml"/><Relationship Id="rId5" Type="http://schemas.openxmlformats.org/officeDocument/2006/relationships/slideLayout" Target="../slideLayouts/slideLayout52.xml"/><Relationship Id="rId4" Type="http://schemas.openxmlformats.org/officeDocument/2006/relationships/slideLayout" Target="../slideLayouts/slideLayout51.xml"/><Relationship Id="rId9" Type="http://schemas.openxmlformats.org/officeDocument/2006/relationships/image" Target="../media/image1.pn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2.xml"/><Relationship Id="rId13" Type="http://schemas.openxmlformats.org/officeDocument/2006/relationships/slideLayout" Target="../slideLayouts/slideLayout67.xml"/><Relationship Id="rId18" Type="http://schemas.openxmlformats.org/officeDocument/2006/relationships/slideLayout" Target="../slideLayouts/slideLayout72.xml"/><Relationship Id="rId26" Type="http://schemas.openxmlformats.org/officeDocument/2006/relationships/image" Target="../media/image1.png"/><Relationship Id="rId3" Type="http://schemas.openxmlformats.org/officeDocument/2006/relationships/slideLayout" Target="../slideLayouts/slideLayout57.xml"/><Relationship Id="rId21" Type="http://schemas.openxmlformats.org/officeDocument/2006/relationships/slideLayout" Target="../slideLayouts/slideLayout75.xml"/><Relationship Id="rId7" Type="http://schemas.openxmlformats.org/officeDocument/2006/relationships/slideLayout" Target="../slideLayouts/slideLayout61.xml"/><Relationship Id="rId12" Type="http://schemas.openxmlformats.org/officeDocument/2006/relationships/slideLayout" Target="../slideLayouts/slideLayout66.xml"/><Relationship Id="rId17" Type="http://schemas.openxmlformats.org/officeDocument/2006/relationships/slideLayout" Target="../slideLayouts/slideLayout71.xml"/><Relationship Id="rId25" Type="http://schemas.openxmlformats.org/officeDocument/2006/relationships/theme" Target="../theme/theme5.xml"/><Relationship Id="rId2" Type="http://schemas.openxmlformats.org/officeDocument/2006/relationships/slideLayout" Target="../slideLayouts/slideLayout56.xml"/><Relationship Id="rId16" Type="http://schemas.openxmlformats.org/officeDocument/2006/relationships/slideLayout" Target="../slideLayouts/slideLayout70.xml"/><Relationship Id="rId20" Type="http://schemas.openxmlformats.org/officeDocument/2006/relationships/slideLayout" Target="../slideLayouts/slideLayout74.xml"/><Relationship Id="rId1" Type="http://schemas.openxmlformats.org/officeDocument/2006/relationships/slideLayout" Target="../slideLayouts/slideLayout55.xml"/><Relationship Id="rId6" Type="http://schemas.openxmlformats.org/officeDocument/2006/relationships/slideLayout" Target="../slideLayouts/slideLayout60.xml"/><Relationship Id="rId11" Type="http://schemas.openxmlformats.org/officeDocument/2006/relationships/slideLayout" Target="../slideLayouts/slideLayout65.xml"/><Relationship Id="rId24" Type="http://schemas.openxmlformats.org/officeDocument/2006/relationships/slideLayout" Target="../slideLayouts/slideLayout78.xml"/><Relationship Id="rId5" Type="http://schemas.openxmlformats.org/officeDocument/2006/relationships/slideLayout" Target="../slideLayouts/slideLayout59.xml"/><Relationship Id="rId15" Type="http://schemas.openxmlformats.org/officeDocument/2006/relationships/slideLayout" Target="../slideLayouts/slideLayout69.xml"/><Relationship Id="rId23" Type="http://schemas.openxmlformats.org/officeDocument/2006/relationships/slideLayout" Target="../slideLayouts/slideLayout77.xml"/><Relationship Id="rId10" Type="http://schemas.openxmlformats.org/officeDocument/2006/relationships/slideLayout" Target="../slideLayouts/slideLayout64.xml"/><Relationship Id="rId19" Type="http://schemas.openxmlformats.org/officeDocument/2006/relationships/slideLayout" Target="../slideLayouts/slideLayout73.xml"/><Relationship Id="rId4" Type="http://schemas.openxmlformats.org/officeDocument/2006/relationships/slideLayout" Target="../slideLayouts/slideLayout58.xml"/><Relationship Id="rId9" Type="http://schemas.openxmlformats.org/officeDocument/2006/relationships/slideLayout" Target="../slideLayouts/slideLayout63.xml"/><Relationship Id="rId14" Type="http://schemas.openxmlformats.org/officeDocument/2006/relationships/slideLayout" Target="../slideLayouts/slideLayout68.xml"/><Relationship Id="rId22" Type="http://schemas.openxmlformats.org/officeDocument/2006/relationships/slideLayout" Target="../slideLayouts/slideLayout76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6.xml"/><Relationship Id="rId13" Type="http://schemas.openxmlformats.org/officeDocument/2006/relationships/slideLayout" Target="../slideLayouts/slideLayout91.xml"/><Relationship Id="rId18" Type="http://schemas.openxmlformats.org/officeDocument/2006/relationships/slideLayout" Target="../slideLayouts/slideLayout96.xml"/><Relationship Id="rId26" Type="http://schemas.openxmlformats.org/officeDocument/2006/relationships/slideLayout" Target="../slideLayouts/slideLayout104.xml"/><Relationship Id="rId3" Type="http://schemas.openxmlformats.org/officeDocument/2006/relationships/slideLayout" Target="../slideLayouts/slideLayout81.xml"/><Relationship Id="rId21" Type="http://schemas.openxmlformats.org/officeDocument/2006/relationships/slideLayout" Target="../slideLayouts/slideLayout99.xml"/><Relationship Id="rId7" Type="http://schemas.openxmlformats.org/officeDocument/2006/relationships/slideLayout" Target="../slideLayouts/slideLayout85.xml"/><Relationship Id="rId12" Type="http://schemas.openxmlformats.org/officeDocument/2006/relationships/slideLayout" Target="../slideLayouts/slideLayout90.xml"/><Relationship Id="rId17" Type="http://schemas.openxmlformats.org/officeDocument/2006/relationships/slideLayout" Target="../slideLayouts/slideLayout95.xml"/><Relationship Id="rId25" Type="http://schemas.openxmlformats.org/officeDocument/2006/relationships/slideLayout" Target="../slideLayouts/slideLayout103.xml"/><Relationship Id="rId2" Type="http://schemas.openxmlformats.org/officeDocument/2006/relationships/slideLayout" Target="../slideLayouts/slideLayout80.xml"/><Relationship Id="rId16" Type="http://schemas.openxmlformats.org/officeDocument/2006/relationships/slideLayout" Target="../slideLayouts/slideLayout94.xml"/><Relationship Id="rId20" Type="http://schemas.openxmlformats.org/officeDocument/2006/relationships/slideLayout" Target="../slideLayouts/slideLayout98.xml"/><Relationship Id="rId29" Type="http://schemas.openxmlformats.org/officeDocument/2006/relationships/theme" Target="../theme/theme6.xml"/><Relationship Id="rId1" Type="http://schemas.openxmlformats.org/officeDocument/2006/relationships/slideLayout" Target="../slideLayouts/slideLayout79.xml"/><Relationship Id="rId6" Type="http://schemas.openxmlformats.org/officeDocument/2006/relationships/slideLayout" Target="../slideLayouts/slideLayout84.xml"/><Relationship Id="rId11" Type="http://schemas.openxmlformats.org/officeDocument/2006/relationships/slideLayout" Target="../slideLayouts/slideLayout89.xml"/><Relationship Id="rId24" Type="http://schemas.openxmlformats.org/officeDocument/2006/relationships/slideLayout" Target="../slideLayouts/slideLayout102.xml"/><Relationship Id="rId5" Type="http://schemas.openxmlformats.org/officeDocument/2006/relationships/slideLayout" Target="../slideLayouts/slideLayout83.xml"/><Relationship Id="rId15" Type="http://schemas.openxmlformats.org/officeDocument/2006/relationships/slideLayout" Target="../slideLayouts/slideLayout93.xml"/><Relationship Id="rId23" Type="http://schemas.openxmlformats.org/officeDocument/2006/relationships/slideLayout" Target="../slideLayouts/slideLayout101.xml"/><Relationship Id="rId28" Type="http://schemas.openxmlformats.org/officeDocument/2006/relationships/slideLayout" Target="../slideLayouts/slideLayout106.xml"/><Relationship Id="rId10" Type="http://schemas.openxmlformats.org/officeDocument/2006/relationships/slideLayout" Target="../slideLayouts/slideLayout88.xml"/><Relationship Id="rId19" Type="http://schemas.openxmlformats.org/officeDocument/2006/relationships/slideLayout" Target="../slideLayouts/slideLayout97.xml"/><Relationship Id="rId4" Type="http://schemas.openxmlformats.org/officeDocument/2006/relationships/slideLayout" Target="../slideLayouts/slideLayout82.xml"/><Relationship Id="rId9" Type="http://schemas.openxmlformats.org/officeDocument/2006/relationships/slideLayout" Target="../slideLayouts/slideLayout87.xml"/><Relationship Id="rId14" Type="http://schemas.openxmlformats.org/officeDocument/2006/relationships/slideLayout" Target="../slideLayouts/slideLayout92.xml"/><Relationship Id="rId22" Type="http://schemas.openxmlformats.org/officeDocument/2006/relationships/slideLayout" Target="../slideLayouts/slideLayout100.xml"/><Relationship Id="rId27" Type="http://schemas.openxmlformats.org/officeDocument/2006/relationships/slideLayout" Target="../slideLayouts/slideLayout105.xml"/><Relationship Id="rId30" Type="http://schemas.openxmlformats.org/officeDocument/2006/relationships/image" Target="../media/image27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m 2">
            <a:extLst>
              <a:ext uri="{FF2B5EF4-FFF2-40B4-BE49-F238E27FC236}">
                <a16:creationId xmlns:a16="http://schemas.microsoft.com/office/drawing/2014/main" id="{9B88B226-165A-406E-A4FF-AF76AF35A05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r="27" b="74939"/>
          <a:stretch/>
        </p:blipFill>
        <p:spPr>
          <a:xfrm rot="5400000">
            <a:off x="-2746361" y="1939120"/>
            <a:ext cx="4598725" cy="7204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68350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6" r:id="rId1"/>
    <p:sldLayoutId id="2147483667" r:id="rId2"/>
    <p:sldLayoutId id="2147483674" r:id="rId3"/>
    <p:sldLayoutId id="2147483688" r:id="rId4"/>
    <p:sldLayoutId id="2147483675" r:id="rId5"/>
    <p:sldLayoutId id="2147483690" r:id="rId6"/>
    <p:sldLayoutId id="2147483691" r:id="rId7"/>
    <p:sldLayoutId id="2147483689" r:id="rId8"/>
    <p:sldLayoutId id="2147483676" r:id="rId9"/>
    <p:sldLayoutId id="2147483695" r:id="rId10"/>
    <p:sldLayoutId id="2147483677" r:id="rId11"/>
    <p:sldLayoutId id="2147483678" r:id="rId12"/>
    <p:sldLayoutId id="2147483679" r:id="rId13"/>
    <p:sldLayoutId id="2147483686" r:id="rId14"/>
    <p:sldLayoutId id="2147483687" r:id="rId15"/>
    <p:sldLayoutId id="2147483693" r:id="rId16"/>
    <p:sldLayoutId id="2147483680" r:id="rId17"/>
    <p:sldLayoutId id="2147483683" r:id="rId18"/>
    <p:sldLayoutId id="2147483682" r:id="rId19"/>
    <p:sldLayoutId id="2147483681" r:id="rId20"/>
    <p:sldLayoutId id="2147483692" r:id="rId21"/>
    <p:sldLayoutId id="2147483694" r:id="rId22"/>
    <p:sldLayoutId id="2147483684" r:id="rId23"/>
    <p:sldLayoutId id="2147483685" r:id="rId24"/>
  </p:sldLayoutIdLst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6"/>
            </p:custDataLst>
          </p:nvPr>
        </p:nvGraphicFramePr>
        <p:xfrm>
          <a:off x="1415" y="1192"/>
          <a:ext cx="141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66" name="Slide do think-cell" r:id="rId7" imgW="270" imgH="270" progId="TCLayout.ActiveDocument.1">
                  <p:embed/>
                </p:oleObj>
              </mc:Choice>
              <mc:Fallback>
                <p:oleObj name="Slide do think-cell" r:id="rId7" imgW="270" imgH="270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415" y="1192"/>
                        <a:ext cx="141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x-none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00152"/>
            <a:ext cx="8229600" cy="33944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x-none" dirty="0"/>
              <a:t>Click to edit Master text styles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47365" y="216888"/>
            <a:ext cx="339436" cy="273844"/>
          </a:xfrm>
          <a:prstGeom prst="rect">
            <a:avLst/>
          </a:prstGeom>
        </p:spPr>
        <p:txBody>
          <a:bodyPr/>
          <a:lstStyle>
            <a:lvl1pPr algn="l">
              <a:defRPr sz="750">
                <a:solidFill>
                  <a:schemeClr val="tx1"/>
                </a:solidFill>
              </a:defRPr>
            </a:lvl1pPr>
          </a:lstStyle>
          <a:p>
            <a:fld id="{08FDDC7F-4685-9F40-974F-5BFFD8258265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6" name="Slide Number Placeholder 5"/>
          <p:cNvSpPr txBox="1">
            <a:spLocks/>
          </p:cNvSpPr>
          <p:nvPr userDrawn="1"/>
        </p:nvSpPr>
        <p:spPr>
          <a:xfrm>
            <a:off x="125900" y="4826898"/>
            <a:ext cx="339436" cy="273844"/>
          </a:xfrm>
          <a:prstGeom prst="rect">
            <a:avLst/>
          </a:prstGeom>
        </p:spPr>
        <p:txBody>
          <a:bodyPr/>
          <a:lstStyle>
            <a:defPPr>
              <a:defRPr lang="pt-BR"/>
            </a:defPPr>
            <a:lvl1pPr marL="0" algn="l" defTabSz="914400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8FDDC7F-4685-9F40-974F-5BFFD8258265}" type="slidenum">
              <a:rPr lang="en-US" sz="750" smtClean="0"/>
              <a:pPr/>
              <a:t>‹nº›</a:t>
            </a:fld>
            <a:endParaRPr lang="en-US" sz="750" dirty="0"/>
          </a:p>
        </p:txBody>
      </p:sp>
    </p:spTree>
    <p:extLst>
      <p:ext uri="{BB962C8B-B14F-4D97-AF65-F5344CB8AC3E}">
        <p14:creationId xmlns:p14="http://schemas.microsoft.com/office/powerpoint/2010/main" val="33062943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4" r:id="rId1"/>
    <p:sldLayoutId id="2147483725" r:id="rId2"/>
    <p:sldLayoutId id="2147483727" r:id="rId3"/>
  </p:sldLayoutIdLst>
  <p:transition spd="slow">
    <p:fade/>
  </p:transition>
  <p:hf hdr="0" ftr="0" dt="0"/>
  <p:txStyles>
    <p:titleStyle>
      <a:lvl1pPr algn="l" defTabSz="342900" rtl="0" eaLnBrk="1" latinLnBrk="0" hangingPunct="1">
        <a:spcBef>
          <a:spcPct val="0"/>
        </a:spcBef>
        <a:buNone/>
        <a:defRPr sz="3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7175" indent="-257175" algn="l" defTabSz="342900" rtl="0" eaLnBrk="1" latinLnBrk="0" hangingPunct="1">
        <a:spcBef>
          <a:spcPct val="20000"/>
        </a:spcBef>
        <a:buClr>
          <a:schemeClr val="accent1"/>
        </a:buClr>
        <a:buSzPct val="70000"/>
        <a:buFont typeface="Wingdings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57213" indent="-214313" algn="l" defTabSz="342900" rtl="0" eaLnBrk="1" latinLnBrk="0" hangingPunct="1">
        <a:spcBef>
          <a:spcPct val="20000"/>
        </a:spcBef>
        <a:buFont typeface="Arial"/>
        <a:buChar char="–"/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342900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342900" rtl="0" eaLnBrk="1" latinLnBrk="0" hangingPunct="1">
        <a:spcBef>
          <a:spcPct val="20000"/>
        </a:spcBef>
        <a:buFont typeface="Arial"/>
        <a:buChar char="–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342900" rtl="0" eaLnBrk="1" latinLnBrk="0" hangingPunct="1">
        <a:spcBef>
          <a:spcPct val="20000"/>
        </a:spcBef>
        <a:buFont typeface="Arial"/>
        <a:buChar char="»"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3"/>
            </p:custDataLst>
          </p:nvPr>
        </p:nvGraphicFramePr>
        <p:xfrm>
          <a:off x="1416" y="1193"/>
          <a:ext cx="1414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12" name="Slide do think-cell" r:id="rId24" imgW="270" imgH="270" progId="TCLayout.ActiveDocument.1">
                  <p:embed/>
                </p:oleObj>
              </mc:Choice>
              <mc:Fallback>
                <p:oleObj name="Slide do think-cell" r:id="rId24" imgW="270" imgH="270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416" y="1193"/>
                        <a:ext cx="1414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x-none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00153"/>
            <a:ext cx="8229600" cy="33944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x-none" dirty="0"/>
              <a:t>Click to edit Master text styles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47366" y="216889"/>
            <a:ext cx="339435" cy="273844"/>
          </a:xfrm>
          <a:prstGeom prst="rect">
            <a:avLst/>
          </a:prstGeom>
        </p:spPr>
        <p:txBody>
          <a:bodyPr/>
          <a:lstStyle>
            <a:lvl1pPr algn="l">
              <a:defRPr sz="668">
                <a:solidFill>
                  <a:schemeClr val="tx1"/>
                </a:solidFill>
              </a:defRPr>
            </a:lvl1pPr>
          </a:lstStyle>
          <a:p>
            <a:pPr defTabSz="611117"/>
            <a:fld id="{08FDDC7F-4685-9F40-974F-5BFFD8258265}" type="slidenum">
              <a:rPr lang="en-US" smtClean="0">
                <a:solidFill>
                  <a:srgbClr val="1E1E1E"/>
                </a:solidFill>
              </a:rPr>
              <a:pPr defTabSz="611117"/>
              <a:t>‹nº›</a:t>
            </a:fld>
            <a:endParaRPr lang="en-US" dirty="0">
              <a:solidFill>
                <a:srgbClr val="1E1E1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35759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1" r:id="rId1"/>
    <p:sldLayoutId id="2147483742" r:id="rId2"/>
    <p:sldLayoutId id="2147483743" r:id="rId3"/>
    <p:sldLayoutId id="2147483744" r:id="rId4"/>
    <p:sldLayoutId id="2147483745" r:id="rId5"/>
    <p:sldLayoutId id="2147483746" r:id="rId6"/>
    <p:sldLayoutId id="2147483747" r:id="rId7"/>
    <p:sldLayoutId id="2147483748" r:id="rId8"/>
    <p:sldLayoutId id="2147483749" r:id="rId9"/>
    <p:sldLayoutId id="2147483750" r:id="rId10"/>
    <p:sldLayoutId id="2147483751" r:id="rId11"/>
    <p:sldLayoutId id="2147483752" r:id="rId12"/>
    <p:sldLayoutId id="2147483753" r:id="rId13"/>
    <p:sldLayoutId id="2147483754" r:id="rId14"/>
    <p:sldLayoutId id="2147483755" r:id="rId15"/>
    <p:sldLayoutId id="2147483756" r:id="rId16"/>
    <p:sldLayoutId id="2147483757" r:id="rId17"/>
    <p:sldLayoutId id="2147483758" r:id="rId18"/>
    <p:sldLayoutId id="2147483759" r:id="rId19"/>
    <p:sldLayoutId id="2147483760" r:id="rId20"/>
  </p:sldLayoutIdLst>
  <p:transition spd="slow">
    <p:fade/>
  </p:transition>
  <p:hf hdr="0" ftr="0" dt="0"/>
  <p:txStyles>
    <p:titleStyle>
      <a:lvl1pPr algn="l" defTabSz="305558" rtl="0" eaLnBrk="1" latinLnBrk="0" hangingPunct="1">
        <a:spcBef>
          <a:spcPct val="0"/>
        </a:spcBef>
        <a:buNone/>
        <a:defRPr sz="2673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9169" indent="-229169" algn="l" defTabSz="305558" rtl="0" eaLnBrk="1" latinLnBrk="0" hangingPunct="1">
        <a:spcBef>
          <a:spcPct val="20000"/>
        </a:spcBef>
        <a:buClr>
          <a:schemeClr val="accent1"/>
        </a:buClr>
        <a:buSzPct val="70000"/>
        <a:buFont typeface="Wingdings" charset="2"/>
        <a:buChar char="§"/>
        <a:defRPr sz="2139" kern="1200">
          <a:solidFill>
            <a:schemeClr val="tx1"/>
          </a:solidFill>
          <a:latin typeface="+mn-lt"/>
          <a:ea typeface="+mn-ea"/>
          <a:cs typeface="+mn-cs"/>
        </a:defRPr>
      </a:lvl1pPr>
      <a:lvl2pPr marL="496532" indent="-190974" algn="l" defTabSz="305558" rtl="0" eaLnBrk="1" latinLnBrk="0" hangingPunct="1">
        <a:spcBef>
          <a:spcPct val="20000"/>
        </a:spcBef>
        <a:buFont typeface="Arial"/>
        <a:buChar char="–"/>
        <a:defRPr sz="1871" kern="1200">
          <a:solidFill>
            <a:schemeClr val="tx1"/>
          </a:solidFill>
          <a:latin typeface="+mn-lt"/>
          <a:ea typeface="+mn-ea"/>
          <a:cs typeface="+mn-cs"/>
        </a:defRPr>
      </a:lvl2pPr>
      <a:lvl3pPr marL="763895" indent="-152779" algn="l" defTabSz="305558" rtl="0" eaLnBrk="1" latinLnBrk="0" hangingPunct="1">
        <a:spcBef>
          <a:spcPct val="20000"/>
        </a:spcBef>
        <a:buFont typeface="Arial"/>
        <a:buChar char="•"/>
        <a:defRPr sz="1604" kern="1200">
          <a:solidFill>
            <a:schemeClr val="tx1"/>
          </a:solidFill>
          <a:latin typeface="+mn-lt"/>
          <a:ea typeface="+mn-ea"/>
          <a:cs typeface="+mn-cs"/>
        </a:defRPr>
      </a:lvl3pPr>
      <a:lvl4pPr marL="1069454" indent="-152779" algn="l" defTabSz="305558" rtl="0" eaLnBrk="1" latinLnBrk="0" hangingPunct="1">
        <a:spcBef>
          <a:spcPct val="20000"/>
        </a:spcBef>
        <a:buFont typeface="Arial"/>
        <a:buChar char="–"/>
        <a:defRPr sz="1337" kern="1200">
          <a:solidFill>
            <a:schemeClr val="tx1"/>
          </a:solidFill>
          <a:latin typeface="+mn-lt"/>
          <a:ea typeface="+mn-ea"/>
          <a:cs typeface="+mn-cs"/>
        </a:defRPr>
      </a:lvl4pPr>
      <a:lvl5pPr marL="1375012" indent="-152779" algn="l" defTabSz="305558" rtl="0" eaLnBrk="1" latinLnBrk="0" hangingPunct="1">
        <a:spcBef>
          <a:spcPct val="20000"/>
        </a:spcBef>
        <a:buFont typeface="Arial"/>
        <a:buChar char="»"/>
        <a:defRPr sz="1337" kern="1200">
          <a:solidFill>
            <a:schemeClr val="tx1"/>
          </a:solidFill>
          <a:latin typeface="+mn-lt"/>
          <a:ea typeface="+mn-ea"/>
          <a:cs typeface="+mn-cs"/>
        </a:defRPr>
      </a:lvl5pPr>
      <a:lvl6pPr marL="1680570" indent="-152779" algn="l" defTabSz="305558" rtl="0" eaLnBrk="1" latinLnBrk="0" hangingPunct="1">
        <a:spcBef>
          <a:spcPct val="20000"/>
        </a:spcBef>
        <a:buFont typeface="Arial"/>
        <a:buChar char="•"/>
        <a:defRPr sz="1337" kern="1200">
          <a:solidFill>
            <a:schemeClr val="tx1"/>
          </a:solidFill>
          <a:latin typeface="+mn-lt"/>
          <a:ea typeface="+mn-ea"/>
          <a:cs typeface="+mn-cs"/>
        </a:defRPr>
      </a:lvl6pPr>
      <a:lvl7pPr marL="1986128" indent="-152779" algn="l" defTabSz="305558" rtl="0" eaLnBrk="1" latinLnBrk="0" hangingPunct="1">
        <a:spcBef>
          <a:spcPct val="20000"/>
        </a:spcBef>
        <a:buFont typeface="Arial"/>
        <a:buChar char="•"/>
        <a:defRPr sz="1337" kern="1200">
          <a:solidFill>
            <a:schemeClr val="tx1"/>
          </a:solidFill>
          <a:latin typeface="+mn-lt"/>
          <a:ea typeface="+mn-ea"/>
          <a:cs typeface="+mn-cs"/>
        </a:defRPr>
      </a:lvl7pPr>
      <a:lvl8pPr marL="2291687" indent="-152779" algn="l" defTabSz="305558" rtl="0" eaLnBrk="1" latinLnBrk="0" hangingPunct="1">
        <a:spcBef>
          <a:spcPct val="20000"/>
        </a:spcBef>
        <a:buFont typeface="Arial"/>
        <a:buChar char="•"/>
        <a:defRPr sz="1337" kern="1200">
          <a:solidFill>
            <a:schemeClr val="tx1"/>
          </a:solidFill>
          <a:latin typeface="+mn-lt"/>
          <a:ea typeface="+mn-ea"/>
          <a:cs typeface="+mn-cs"/>
        </a:defRPr>
      </a:lvl8pPr>
      <a:lvl9pPr marL="2597245" indent="-152779" algn="l" defTabSz="305558" rtl="0" eaLnBrk="1" latinLnBrk="0" hangingPunct="1">
        <a:spcBef>
          <a:spcPct val="20000"/>
        </a:spcBef>
        <a:buFont typeface="Arial"/>
        <a:buChar char="•"/>
        <a:defRPr sz="133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05558" rtl="0" eaLnBrk="1" latinLnBrk="0" hangingPunct="1">
        <a:defRPr sz="1203" kern="1200">
          <a:solidFill>
            <a:schemeClr val="tx1"/>
          </a:solidFill>
          <a:latin typeface="+mn-lt"/>
          <a:ea typeface="+mn-ea"/>
          <a:cs typeface="+mn-cs"/>
        </a:defRPr>
      </a:lvl1pPr>
      <a:lvl2pPr marL="305558" algn="l" defTabSz="305558" rtl="0" eaLnBrk="1" latinLnBrk="0" hangingPunct="1">
        <a:defRPr sz="1203" kern="1200">
          <a:solidFill>
            <a:schemeClr val="tx1"/>
          </a:solidFill>
          <a:latin typeface="+mn-lt"/>
          <a:ea typeface="+mn-ea"/>
          <a:cs typeface="+mn-cs"/>
        </a:defRPr>
      </a:lvl2pPr>
      <a:lvl3pPr marL="611117" algn="l" defTabSz="305558" rtl="0" eaLnBrk="1" latinLnBrk="0" hangingPunct="1">
        <a:defRPr sz="1203" kern="1200">
          <a:solidFill>
            <a:schemeClr val="tx1"/>
          </a:solidFill>
          <a:latin typeface="+mn-lt"/>
          <a:ea typeface="+mn-ea"/>
          <a:cs typeface="+mn-cs"/>
        </a:defRPr>
      </a:lvl3pPr>
      <a:lvl4pPr marL="916675" algn="l" defTabSz="305558" rtl="0" eaLnBrk="1" latinLnBrk="0" hangingPunct="1">
        <a:defRPr sz="1203" kern="1200">
          <a:solidFill>
            <a:schemeClr val="tx1"/>
          </a:solidFill>
          <a:latin typeface="+mn-lt"/>
          <a:ea typeface="+mn-ea"/>
          <a:cs typeface="+mn-cs"/>
        </a:defRPr>
      </a:lvl4pPr>
      <a:lvl5pPr marL="1222233" algn="l" defTabSz="305558" rtl="0" eaLnBrk="1" latinLnBrk="0" hangingPunct="1">
        <a:defRPr sz="1203" kern="1200">
          <a:solidFill>
            <a:schemeClr val="tx1"/>
          </a:solidFill>
          <a:latin typeface="+mn-lt"/>
          <a:ea typeface="+mn-ea"/>
          <a:cs typeface="+mn-cs"/>
        </a:defRPr>
      </a:lvl5pPr>
      <a:lvl6pPr marL="1527791" algn="l" defTabSz="305558" rtl="0" eaLnBrk="1" latinLnBrk="0" hangingPunct="1">
        <a:defRPr sz="1203" kern="1200">
          <a:solidFill>
            <a:schemeClr val="tx1"/>
          </a:solidFill>
          <a:latin typeface="+mn-lt"/>
          <a:ea typeface="+mn-ea"/>
          <a:cs typeface="+mn-cs"/>
        </a:defRPr>
      </a:lvl6pPr>
      <a:lvl7pPr marL="1833350" algn="l" defTabSz="305558" rtl="0" eaLnBrk="1" latinLnBrk="0" hangingPunct="1">
        <a:defRPr sz="1203" kern="1200">
          <a:solidFill>
            <a:schemeClr val="tx1"/>
          </a:solidFill>
          <a:latin typeface="+mn-lt"/>
          <a:ea typeface="+mn-ea"/>
          <a:cs typeface="+mn-cs"/>
        </a:defRPr>
      </a:lvl7pPr>
      <a:lvl8pPr marL="2138907" algn="l" defTabSz="305558" rtl="0" eaLnBrk="1" latinLnBrk="0" hangingPunct="1">
        <a:defRPr sz="1203" kern="1200">
          <a:solidFill>
            <a:schemeClr val="tx1"/>
          </a:solidFill>
          <a:latin typeface="+mn-lt"/>
          <a:ea typeface="+mn-ea"/>
          <a:cs typeface="+mn-cs"/>
        </a:defRPr>
      </a:lvl8pPr>
      <a:lvl9pPr marL="2444465" algn="l" defTabSz="305558" rtl="0" eaLnBrk="1" latinLnBrk="0" hangingPunct="1">
        <a:defRPr sz="120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m 2">
            <a:extLst>
              <a:ext uri="{FF2B5EF4-FFF2-40B4-BE49-F238E27FC236}">
                <a16:creationId xmlns:a16="http://schemas.microsoft.com/office/drawing/2014/main" id="{9B88B226-165A-406E-A4FF-AF76AF35A05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r="27" b="74939"/>
          <a:stretch/>
        </p:blipFill>
        <p:spPr>
          <a:xfrm rot="5400000">
            <a:off x="-2746360" y="1939121"/>
            <a:ext cx="4598725" cy="7204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6377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8" r:id="rId1"/>
    <p:sldLayoutId id="2147483869" r:id="rId2"/>
    <p:sldLayoutId id="2147483870" r:id="rId3"/>
    <p:sldLayoutId id="2147483871" r:id="rId4"/>
    <p:sldLayoutId id="2147483872" r:id="rId5"/>
    <p:sldLayoutId id="2147483873" r:id="rId6"/>
    <p:sldLayoutId id="2147483874" r:id="rId7"/>
  </p:sldLayoutIdLst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xStyles>
    <p:titleStyle>
      <a:lvl1pPr algn="l" defTabSz="685783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46" indent="-171446" algn="l" defTabSz="685783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37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28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20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12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03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795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686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77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9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5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8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m 2">
            <a:extLst>
              <a:ext uri="{FF2B5EF4-FFF2-40B4-BE49-F238E27FC236}">
                <a16:creationId xmlns:a16="http://schemas.microsoft.com/office/drawing/2014/main" id="{9B88B226-165A-406E-A4FF-AF76AF35A05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r="27" b="74939"/>
          <a:stretch/>
        </p:blipFill>
        <p:spPr>
          <a:xfrm rot="5400000">
            <a:off x="-2746361" y="1939120"/>
            <a:ext cx="4598725" cy="7204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3995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6" r:id="rId1"/>
    <p:sldLayoutId id="2147483877" r:id="rId2"/>
    <p:sldLayoutId id="2147483878" r:id="rId3"/>
    <p:sldLayoutId id="2147483879" r:id="rId4"/>
    <p:sldLayoutId id="2147483880" r:id="rId5"/>
    <p:sldLayoutId id="2147483881" r:id="rId6"/>
    <p:sldLayoutId id="2147483882" r:id="rId7"/>
    <p:sldLayoutId id="2147483883" r:id="rId8"/>
    <p:sldLayoutId id="2147483884" r:id="rId9"/>
    <p:sldLayoutId id="2147483885" r:id="rId10"/>
    <p:sldLayoutId id="2147483886" r:id="rId11"/>
    <p:sldLayoutId id="2147483887" r:id="rId12"/>
    <p:sldLayoutId id="2147483888" r:id="rId13"/>
    <p:sldLayoutId id="2147483889" r:id="rId14"/>
    <p:sldLayoutId id="2147483890" r:id="rId15"/>
    <p:sldLayoutId id="2147483891" r:id="rId16"/>
    <p:sldLayoutId id="2147483892" r:id="rId17"/>
    <p:sldLayoutId id="2147483893" r:id="rId18"/>
    <p:sldLayoutId id="2147483894" r:id="rId19"/>
    <p:sldLayoutId id="2147483895" r:id="rId20"/>
    <p:sldLayoutId id="2147483896" r:id="rId21"/>
    <p:sldLayoutId id="2147483897" r:id="rId22"/>
    <p:sldLayoutId id="2147483898" r:id="rId23"/>
    <p:sldLayoutId id="2147483899" r:id="rId24"/>
  </p:sldLayoutIdLst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m 2">
            <a:extLst>
              <a:ext uri="{FF2B5EF4-FFF2-40B4-BE49-F238E27FC236}">
                <a16:creationId xmlns:a16="http://schemas.microsoft.com/office/drawing/2014/main" id="{9B88B226-165A-406E-A4FF-AF76AF35A05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0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/>
          <a:stretch/>
        </p:blipFill>
        <p:spPr>
          <a:xfrm rot="5400000">
            <a:off x="-2746360" y="1939121"/>
            <a:ext cx="4598725" cy="7204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42974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7" r:id="rId1"/>
    <p:sldLayoutId id="2147483968" r:id="rId2"/>
    <p:sldLayoutId id="2147483969" r:id="rId3"/>
    <p:sldLayoutId id="2147483970" r:id="rId4"/>
    <p:sldLayoutId id="2147483971" r:id="rId5"/>
    <p:sldLayoutId id="2147483972" r:id="rId6"/>
    <p:sldLayoutId id="2147483973" r:id="rId7"/>
    <p:sldLayoutId id="2147483974" r:id="rId8"/>
    <p:sldLayoutId id="2147483975" r:id="rId9"/>
    <p:sldLayoutId id="2147483976" r:id="rId10"/>
    <p:sldLayoutId id="2147483977" r:id="rId11"/>
    <p:sldLayoutId id="2147483978" r:id="rId12"/>
    <p:sldLayoutId id="2147483979" r:id="rId13"/>
    <p:sldLayoutId id="2147483980" r:id="rId14"/>
    <p:sldLayoutId id="2147483981" r:id="rId15"/>
    <p:sldLayoutId id="2147483982" r:id="rId16"/>
    <p:sldLayoutId id="2147483983" r:id="rId17"/>
    <p:sldLayoutId id="2147483984" r:id="rId18"/>
    <p:sldLayoutId id="2147483985" r:id="rId19"/>
    <p:sldLayoutId id="2147483986" r:id="rId20"/>
    <p:sldLayoutId id="2147483987" r:id="rId21"/>
    <p:sldLayoutId id="2147483988" r:id="rId22"/>
    <p:sldLayoutId id="2147483989" r:id="rId23"/>
    <p:sldLayoutId id="2147483990" r:id="rId24"/>
    <p:sldLayoutId id="2147483991" r:id="rId25"/>
    <p:sldLayoutId id="2147483992" r:id="rId26"/>
    <p:sldLayoutId id="2147483993" r:id="rId27"/>
    <p:sldLayoutId id="2147483994" r:id="rId28"/>
  </p:sldLayoutIdLst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xStyles>
    <p:titleStyle>
      <a:lvl1pPr algn="l" defTabSz="685783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46" indent="-171446" algn="l" defTabSz="685783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37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28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20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12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03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795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686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77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9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5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8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80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0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80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80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2.png"/><Relationship Id="rId3" Type="http://schemas.openxmlformats.org/officeDocument/2006/relationships/image" Target="../media/image58.png"/><Relationship Id="rId7" Type="http://schemas.microsoft.com/office/2007/relationships/hdphoto" Target="../media/hdphoto3.wdp"/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80.xml"/><Relationship Id="rId6" Type="http://schemas.openxmlformats.org/officeDocument/2006/relationships/image" Target="../media/image61.png"/><Relationship Id="rId5" Type="http://schemas.openxmlformats.org/officeDocument/2006/relationships/image" Target="../media/image60.png"/><Relationship Id="rId4" Type="http://schemas.openxmlformats.org/officeDocument/2006/relationships/image" Target="../media/image59.jpeg"/><Relationship Id="rId9" Type="http://schemas.openxmlformats.org/officeDocument/2006/relationships/image" Target="../media/image44.pn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0.png"/><Relationship Id="rId1" Type="http://schemas.openxmlformats.org/officeDocument/2006/relationships/slideLayout" Target="../slideLayouts/slideLayout80.xml"/></Relationships>
</file>

<file path=ppt/slides/_rels/slide16.xml.rels><?xml version="1.0" encoding="UTF-8" standalone="yes"?>
<Relationships xmlns="http://schemas.openxmlformats.org/package/2006/relationships"><Relationship Id="rId3" Type="http://schemas.microsoft.com/office/2007/relationships/hdphoto" Target="../media/hdphoto3.wdp"/><Relationship Id="rId2" Type="http://schemas.openxmlformats.org/officeDocument/2006/relationships/image" Target="../media/image61.png"/><Relationship Id="rId1" Type="http://schemas.openxmlformats.org/officeDocument/2006/relationships/slideLayout" Target="../slideLayouts/slideLayout80.xml"/><Relationship Id="rId4" Type="http://schemas.openxmlformats.org/officeDocument/2006/relationships/image" Target="../media/image60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80.xml"/><Relationship Id="rId5" Type="http://schemas.microsoft.com/office/2007/relationships/hdphoto" Target="../media/hdphoto4.wdp"/><Relationship Id="rId4" Type="http://schemas.openxmlformats.org/officeDocument/2006/relationships/image" Target="../media/image63.png"/></Relationships>
</file>

<file path=ppt/slides/_rels/slide18.xml.rels><?xml version="1.0" encoding="UTF-8" standalone="yes"?>
<Relationships xmlns="http://schemas.openxmlformats.org/package/2006/relationships"><Relationship Id="rId3" Type="http://schemas.microsoft.com/office/2007/relationships/hdphoto" Target="../media/hdphoto3.wdp"/><Relationship Id="rId2" Type="http://schemas.openxmlformats.org/officeDocument/2006/relationships/image" Target="../media/image61.png"/><Relationship Id="rId1" Type="http://schemas.openxmlformats.org/officeDocument/2006/relationships/slideLayout" Target="../slideLayouts/slideLayout80.xml"/><Relationship Id="rId4" Type="http://schemas.openxmlformats.org/officeDocument/2006/relationships/image" Target="../media/image44.png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9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eg"/><Relationship Id="rId7" Type="http://schemas.openxmlformats.org/officeDocument/2006/relationships/image" Target="../media/image35.jpeg"/><Relationship Id="rId2" Type="http://schemas.openxmlformats.org/officeDocument/2006/relationships/image" Target="../media/image30.jpeg"/><Relationship Id="rId1" Type="http://schemas.openxmlformats.org/officeDocument/2006/relationships/slideLayout" Target="../slideLayouts/slideLayout56.xml"/><Relationship Id="rId6" Type="http://schemas.openxmlformats.org/officeDocument/2006/relationships/image" Target="../media/image34.jpeg"/><Relationship Id="rId5" Type="http://schemas.openxmlformats.org/officeDocument/2006/relationships/image" Target="../media/image33.jpeg"/><Relationship Id="rId4" Type="http://schemas.openxmlformats.org/officeDocument/2006/relationships/image" Target="../media/image32.jpe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png"/><Relationship Id="rId13" Type="http://schemas.microsoft.com/office/2007/relationships/hdphoto" Target="../media/hdphoto2.wdp"/><Relationship Id="rId3" Type="http://schemas.openxmlformats.org/officeDocument/2006/relationships/diagramLayout" Target="../diagrams/layout1.xml"/><Relationship Id="rId7" Type="http://schemas.openxmlformats.org/officeDocument/2006/relationships/image" Target="../media/image36.jpeg"/><Relationship Id="rId12" Type="http://schemas.openxmlformats.org/officeDocument/2006/relationships/image" Target="../media/image40.pn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56.xml"/><Relationship Id="rId6" Type="http://schemas.microsoft.com/office/2007/relationships/diagramDrawing" Target="../diagrams/drawing1.xml"/><Relationship Id="rId11" Type="http://schemas.microsoft.com/office/2007/relationships/hdphoto" Target="../media/hdphoto1.wdp"/><Relationship Id="rId5" Type="http://schemas.openxmlformats.org/officeDocument/2006/relationships/diagramColors" Target="../diagrams/colors1.xml"/><Relationship Id="rId15" Type="http://schemas.openxmlformats.org/officeDocument/2006/relationships/image" Target="../media/image42.jpg"/><Relationship Id="rId10" Type="http://schemas.openxmlformats.org/officeDocument/2006/relationships/image" Target="../media/image39.png"/><Relationship Id="rId4" Type="http://schemas.openxmlformats.org/officeDocument/2006/relationships/diagramQuickStyle" Target="../diagrams/quickStyle1.xml"/><Relationship Id="rId9" Type="http://schemas.openxmlformats.org/officeDocument/2006/relationships/image" Target="../media/image38.JPG"/><Relationship Id="rId14" Type="http://schemas.openxmlformats.org/officeDocument/2006/relationships/image" Target="../media/image41.jpe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0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0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8.png"/><Relationship Id="rId3" Type="http://schemas.openxmlformats.org/officeDocument/2006/relationships/image" Target="../media/image43.png"/><Relationship Id="rId7" Type="http://schemas.openxmlformats.org/officeDocument/2006/relationships/image" Target="../media/image47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06.xml"/><Relationship Id="rId6" Type="http://schemas.openxmlformats.org/officeDocument/2006/relationships/image" Target="../media/image46.png"/><Relationship Id="rId11" Type="http://schemas.openxmlformats.org/officeDocument/2006/relationships/image" Target="../media/image51.png"/><Relationship Id="rId5" Type="http://schemas.openxmlformats.org/officeDocument/2006/relationships/image" Target="../media/image45.png"/><Relationship Id="rId10" Type="http://schemas.openxmlformats.org/officeDocument/2006/relationships/image" Target="../media/image50.png"/><Relationship Id="rId4" Type="http://schemas.openxmlformats.org/officeDocument/2006/relationships/image" Target="../media/image44.png"/><Relationship Id="rId9" Type="http://schemas.openxmlformats.org/officeDocument/2006/relationships/image" Target="../media/image49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9.png"/><Relationship Id="rId3" Type="http://schemas.openxmlformats.org/officeDocument/2006/relationships/image" Target="../media/image52.png"/><Relationship Id="rId7" Type="http://schemas.openxmlformats.org/officeDocument/2006/relationships/image" Target="../media/image48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06.xml"/><Relationship Id="rId6" Type="http://schemas.openxmlformats.org/officeDocument/2006/relationships/image" Target="../media/image47.png"/><Relationship Id="rId11" Type="http://schemas.openxmlformats.org/officeDocument/2006/relationships/image" Target="../media/image43.png"/><Relationship Id="rId5" Type="http://schemas.openxmlformats.org/officeDocument/2006/relationships/image" Target="../media/image46.png"/><Relationship Id="rId10" Type="http://schemas.openxmlformats.org/officeDocument/2006/relationships/image" Target="../media/image51.png"/><Relationship Id="rId4" Type="http://schemas.openxmlformats.org/officeDocument/2006/relationships/image" Target="../media/image45.png"/><Relationship Id="rId9" Type="http://schemas.openxmlformats.org/officeDocument/2006/relationships/image" Target="../media/image50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9.png"/><Relationship Id="rId3" Type="http://schemas.openxmlformats.org/officeDocument/2006/relationships/image" Target="../media/image53.png"/><Relationship Id="rId7" Type="http://schemas.openxmlformats.org/officeDocument/2006/relationships/image" Target="../media/image4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06.xml"/><Relationship Id="rId6" Type="http://schemas.openxmlformats.org/officeDocument/2006/relationships/image" Target="../media/image47.png"/><Relationship Id="rId11" Type="http://schemas.openxmlformats.org/officeDocument/2006/relationships/image" Target="../media/image43.png"/><Relationship Id="rId5" Type="http://schemas.openxmlformats.org/officeDocument/2006/relationships/image" Target="../media/image46.png"/><Relationship Id="rId10" Type="http://schemas.openxmlformats.org/officeDocument/2006/relationships/image" Target="../media/image51.png"/><Relationship Id="rId4" Type="http://schemas.openxmlformats.org/officeDocument/2006/relationships/image" Target="../media/image45.png"/><Relationship Id="rId9" Type="http://schemas.openxmlformats.org/officeDocument/2006/relationships/image" Target="../media/image5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exto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pt-BR" dirty="0"/>
              <a:t>Estrutura Projetos</a:t>
            </a:r>
          </a:p>
          <a:p>
            <a:r>
              <a:rPr lang="pt-BR" dirty="0"/>
              <a:t>2020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pt-BR" dirty="0"/>
              <a:t>Leila Klevanskis</a:t>
            </a:r>
          </a:p>
        </p:txBody>
      </p:sp>
      <p:sp>
        <p:nvSpPr>
          <p:cNvPr id="5" name="Espaço Reservado para Texto 4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pt-BR" dirty="0"/>
              <a:t>VP-TI</a:t>
            </a:r>
          </a:p>
        </p:txBody>
      </p:sp>
      <p:sp>
        <p:nvSpPr>
          <p:cNvPr id="6" name="Espaço Reservado para Texto 5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pt-BR" dirty="0"/>
              <a:t>30/04/2020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D20CE634-4B39-4394-B0E6-5F0E8A606B77}"/>
              </a:ext>
            </a:extLst>
          </p:cNvPr>
          <p:cNvSpPr txBox="1">
            <a:spLocks/>
          </p:cNvSpPr>
          <p:nvPr/>
        </p:nvSpPr>
        <p:spPr>
          <a:xfrm>
            <a:off x="0" y="4878374"/>
            <a:ext cx="9144000" cy="26512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0" indent="0" algn="l" defTabSz="457200" rtl="0" eaLnBrk="1" latinLnBrk="0" hangingPunct="1">
              <a:spcBef>
                <a:spcPct val="20000"/>
              </a:spcBef>
              <a:buClr>
                <a:schemeClr val="accent1"/>
              </a:buClr>
              <a:buSzPct val="70000"/>
              <a:buFont typeface="Wingdings" charset="2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pt-BR" sz="1200" b="1">
                <a:solidFill>
                  <a:srgbClr val="FF0000"/>
                </a:solidFill>
              </a:rPr>
              <a:t>Confidencial</a:t>
            </a:r>
          </a:p>
        </p:txBody>
      </p:sp>
    </p:spTree>
    <p:extLst>
      <p:ext uri="{BB962C8B-B14F-4D97-AF65-F5344CB8AC3E}">
        <p14:creationId xmlns:p14="http://schemas.microsoft.com/office/powerpoint/2010/main" val="37166680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tângulo: Cantos Arredondados 3">
            <a:extLst>
              <a:ext uri="{FF2B5EF4-FFF2-40B4-BE49-F238E27FC236}">
                <a16:creationId xmlns:a16="http://schemas.microsoft.com/office/drawing/2014/main" id="{C8A48B3A-FED3-4FF3-8304-BF1BC8623171}"/>
              </a:ext>
            </a:extLst>
          </p:cNvPr>
          <p:cNvSpPr/>
          <p:nvPr/>
        </p:nvSpPr>
        <p:spPr>
          <a:xfrm>
            <a:off x="311674" y="1237586"/>
            <a:ext cx="566876" cy="358206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pt-BR">
              <a:solidFill>
                <a:prstClr val="white"/>
              </a:solidFill>
              <a:latin typeface="Calibri" panose="020F0502020204030204"/>
            </a:endParaRPr>
          </a:p>
        </p:txBody>
      </p:sp>
      <p:pic>
        <p:nvPicPr>
          <p:cNvPr id="5" name="Imagem" descr="Imagem">
            <a:extLst>
              <a:ext uri="{FF2B5EF4-FFF2-40B4-BE49-F238E27FC236}">
                <a16:creationId xmlns:a16="http://schemas.microsoft.com/office/drawing/2014/main" id="{6E3DBEF8-4586-49F7-AE32-A69ECF9D2A4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3050" y="1371300"/>
            <a:ext cx="450407" cy="420971"/>
          </a:xfrm>
          <a:prstGeom prst="rect">
            <a:avLst/>
          </a:prstGeom>
          <a:ln w="12700" cap="flat">
            <a:noFill/>
            <a:miter lim="400000"/>
          </a:ln>
          <a:effectLst/>
        </p:spPr>
      </p:pic>
      <p:pic>
        <p:nvPicPr>
          <p:cNvPr id="6" name="Imagem" descr="Imagem">
            <a:extLst>
              <a:ext uri="{FF2B5EF4-FFF2-40B4-BE49-F238E27FC236}">
                <a16:creationId xmlns:a16="http://schemas.microsoft.com/office/drawing/2014/main" id="{B30B1141-45C9-4B4F-8DA7-676E94C91F4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1723" y="3153234"/>
            <a:ext cx="420970" cy="420971"/>
          </a:xfrm>
          <a:prstGeom prst="rect">
            <a:avLst/>
          </a:prstGeom>
          <a:ln w="12700" cap="flat">
            <a:noFill/>
            <a:miter lim="400000"/>
          </a:ln>
          <a:effectLst/>
        </p:spPr>
      </p:pic>
      <p:sp>
        <p:nvSpPr>
          <p:cNvPr id="8" name="LPM - Lean Portfolio…">
            <a:extLst>
              <a:ext uri="{FF2B5EF4-FFF2-40B4-BE49-F238E27FC236}">
                <a16:creationId xmlns:a16="http://schemas.microsoft.com/office/drawing/2014/main" id="{D81E3AA0-2D19-44AD-A8DA-7BF3EBC20FAD}"/>
              </a:ext>
            </a:extLst>
          </p:cNvPr>
          <p:cNvSpPr txBox="1"/>
          <p:nvPr/>
        </p:nvSpPr>
        <p:spPr>
          <a:xfrm>
            <a:off x="186836" y="3529850"/>
            <a:ext cx="722059" cy="18081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xmlns:lc="http://schemas.openxmlformats.org/drawingml/2006/lockedCanvas" val="1"/>
            </a:ext>
          </a:extLst>
        </p:spPr>
        <p:txBody>
          <a:bodyPr wrap="square" lIns="38100" tIns="38100" rIns="38100" bIns="38100" numCol="1" anchor="ctr">
            <a:spAutoFit/>
          </a:bodyPr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ctr" defTabSz="584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1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marL="0" marR="0" indent="228600" algn="ctr" defTabSz="584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1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marL="0" marR="0" indent="457200" algn="ctr" defTabSz="584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1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marL="0" marR="0" indent="685800" algn="ctr" defTabSz="584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1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marL="0" marR="0" indent="914400" algn="ctr" defTabSz="584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1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L="0" marR="0" indent="1143000" algn="ctr" defTabSz="584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1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L="0" marR="0" indent="1371600" algn="ctr" defTabSz="584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1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L="0" marR="0" indent="1600200" algn="ctr" defTabSz="584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1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L="0" marR="0" indent="1828800" algn="ctr" defTabSz="584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1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pPr defTabSz="438150">
              <a:defRPr sz="2000"/>
            </a:pPr>
            <a:r>
              <a:rPr lang="pt-BR" sz="675" dirty="0">
                <a:solidFill>
                  <a:srgbClr val="FF0000"/>
                </a:solidFill>
              </a:rPr>
              <a:t>RTE</a:t>
            </a:r>
            <a:endParaRPr sz="675" dirty="0">
              <a:solidFill>
                <a:srgbClr val="FF0000"/>
              </a:solidFill>
            </a:endParaRPr>
          </a:p>
        </p:txBody>
      </p:sp>
      <p:sp>
        <p:nvSpPr>
          <p:cNvPr id="10" name="LPM - Lean Portfolio…">
            <a:extLst>
              <a:ext uri="{FF2B5EF4-FFF2-40B4-BE49-F238E27FC236}">
                <a16:creationId xmlns:a16="http://schemas.microsoft.com/office/drawing/2014/main" id="{D5A5A83A-4DAD-4147-A565-C7D403033D69}"/>
              </a:ext>
            </a:extLst>
          </p:cNvPr>
          <p:cNvSpPr txBox="1"/>
          <p:nvPr/>
        </p:nvSpPr>
        <p:spPr>
          <a:xfrm>
            <a:off x="230412" y="1749496"/>
            <a:ext cx="722059" cy="18081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xmlns:lc="http://schemas.openxmlformats.org/drawingml/2006/lockedCanvas" val="1"/>
            </a:ext>
          </a:extLst>
        </p:spPr>
        <p:txBody>
          <a:bodyPr wrap="square" lIns="38100" tIns="38100" rIns="38100" bIns="38100" numCol="1" anchor="ctr">
            <a:spAutoFit/>
          </a:bodyPr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ctr" defTabSz="584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1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marL="0" marR="0" indent="228600" algn="ctr" defTabSz="584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1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marL="0" marR="0" indent="457200" algn="ctr" defTabSz="584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1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marL="0" marR="0" indent="685800" algn="ctr" defTabSz="584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1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marL="0" marR="0" indent="914400" algn="ctr" defTabSz="584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1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L="0" marR="0" indent="1143000" algn="ctr" defTabSz="584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1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L="0" marR="0" indent="1371600" algn="ctr" defTabSz="584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1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L="0" marR="0" indent="1600200" algn="ctr" defTabSz="584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1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L="0" marR="0" indent="1828800" algn="ctr" defTabSz="584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1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pPr defTabSz="438150">
              <a:defRPr sz="2000"/>
            </a:pPr>
            <a:r>
              <a:rPr lang="pt-BR" sz="675" dirty="0">
                <a:solidFill>
                  <a:srgbClr val="FF0000"/>
                </a:solidFill>
              </a:rPr>
              <a:t>AN</a:t>
            </a:r>
            <a:endParaRPr sz="675" dirty="0">
              <a:solidFill>
                <a:srgbClr val="FF0000"/>
              </a:solidFill>
            </a:endParaRPr>
          </a:p>
        </p:txBody>
      </p:sp>
      <p:sp>
        <p:nvSpPr>
          <p:cNvPr id="11" name="Texto Explicativo: Linha 10">
            <a:extLst>
              <a:ext uri="{FF2B5EF4-FFF2-40B4-BE49-F238E27FC236}">
                <a16:creationId xmlns:a16="http://schemas.microsoft.com/office/drawing/2014/main" id="{052B9338-9BE1-42C0-AA66-A2D344534A2F}"/>
              </a:ext>
            </a:extLst>
          </p:cNvPr>
          <p:cNvSpPr/>
          <p:nvPr/>
        </p:nvSpPr>
        <p:spPr>
          <a:xfrm>
            <a:off x="4396255" y="1274155"/>
            <a:ext cx="4162649" cy="1078520"/>
          </a:xfrm>
          <a:prstGeom prst="borderCallout1">
            <a:avLst>
              <a:gd name="adj1" fmla="val 48564"/>
              <a:gd name="adj2" fmla="val -4501"/>
              <a:gd name="adj3" fmla="val 47783"/>
              <a:gd name="adj4" fmla="val -84268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14313" indent="-214313">
              <a:buFont typeface="Wingdings" panose="05000000000000000000" pitchFamily="2" charset="2"/>
              <a:buChar char="§"/>
              <a:defRPr/>
            </a:pPr>
            <a:r>
              <a:rPr lang="pt-BR" sz="1050" dirty="0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/>
              </a:rPr>
              <a:t>Evitar duplicidade de esforço;</a:t>
            </a:r>
          </a:p>
          <a:p>
            <a:pPr marL="214313" indent="-214313">
              <a:buFont typeface="Wingdings" panose="05000000000000000000" pitchFamily="2" charset="2"/>
              <a:buChar char="§"/>
              <a:defRPr/>
            </a:pPr>
            <a:r>
              <a:rPr lang="pt-BR" sz="1050" dirty="0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/>
              </a:rPr>
              <a:t>Simplificação das soluções;</a:t>
            </a:r>
          </a:p>
          <a:p>
            <a:pPr marL="214313" indent="-214313">
              <a:buFont typeface="Wingdings" panose="05000000000000000000" pitchFamily="2" charset="2"/>
              <a:buChar char="§"/>
              <a:defRPr/>
            </a:pPr>
            <a:r>
              <a:rPr lang="pt-BR" sz="1050" dirty="0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/>
              </a:rPr>
              <a:t>Visão sobre possíveis novas linhas de receitas;</a:t>
            </a:r>
          </a:p>
          <a:p>
            <a:pPr marL="214313" indent="-214313">
              <a:buFont typeface="Wingdings" panose="05000000000000000000" pitchFamily="2" charset="2"/>
              <a:buChar char="§"/>
              <a:defRPr/>
            </a:pPr>
            <a:r>
              <a:rPr lang="pt-BR" sz="1050" dirty="0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/>
              </a:rPr>
              <a:t>Aderência ao negócio.</a:t>
            </a:r>
          </a:p>
        </p:txBody>
      </p:sp>
      <p:sp>
        <p:nvSpPr>
          <p:cNvPr id="12" name="CaixaDeTexto 11">
            <a:extLst>
              <a:ext uri="{FF2B5EF4-FFF2-40B4-BE49-F238E27FC236}">
                <a16:creationId xmlns:a16="http://schemas.microsoft.com/office/drawing/2014/main" id="{21105091-D9BF-4398-AD71-0BD9563D7237}"/>
              </a:ext>
            </a:extLst>
          </p:cNvPr>
          <p:cNvSpPr txBox="1"/>
          <p:nvPr/>
        </p:nvSpPr>
        <p:spPr>
          <a:xfrm flipH="1">
            <a:off x="863872" y="1789127"/>
            <a:ext cx="3314984" cy="5770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pt-BR" sz="1050" dirty="0">
                <a:solidFill>
                  <a:prstClr val="white">
                    <a:lumMod val="50000"/>
                  </a:prstClr>
                </a:solidFill>
                <a:latin typeface="Calibri" panose="020F0502020204030204"/>
              </a:rPr>
              <a:t>Influencia a tomada de decisão para a continuidade do negócio e melhor aproveitamento da solução para a cadeia de valor.</a:t>
            </a:r>
          </a:p>
        </p:txBody>
      </p:sp>
      <p:sp>
        <p:nvSpPr>
          <p:cNvPr id="13" name="Retângulo 12">
            <a:extLst>
              <a:ext uri="{FF2B5EF4-FFF2-40B4-BE49-F238E27FC236}">
                <a16:creationId xmlns:a16="http://schemas.microsoft.com/office/drawing/2014/main" id="{44F6BDB3-D64A-454F-AFC0-BC92A5CF6DF0}"/>
              </a:ext>
            </a:extLst>
          </p:cNvPr>
          <p:cNvSpPr/>
          <p:nvPr/>
        </p:nvSpPr>
        <p:spPr>
          <a:xfrm>
            <a:off x="863873" y="1390987"/>
            <a:ext cx="3314984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pt-BR" sz="1050" dirty="0">
                <a:solidFill>
                  <a:prstClr val="white">
                    <a:lumMod val="50000"/>
                  </a:prstClr>
                </a:solidFill>
                <a:latin typeface="Calibri" panose="020F0502020204030204"/>
              </a:rPr>
              <a:t>Passamos a ter a visão abrangente dos processos da cadeia de valor envolvidos em um incremento.</a:t>
            </a:r>
          </a:p>
        </p:txBody>
      </p:sp>
      <p:sp>
        <p:nvSpPr>
          <p:cNvPr id="17" name="Texto Explicativo: Linha 16">
            <a:extLst>
              <a:ext uri="{FF2B5EF4-FFF2-40B4-BE49-F238E27FC236}">
                <a16:creationId xmlns:a16="http://schemas.microsoft.com/office/drawing/2014/main" id="{B1769ECE-2161-466D-8C83-B001C3BF7418}"/>
              </a:ext>
            </a:extLst>
          </p:cNvPr>
          <p:cNvSpPr/>
          <p:nvPr/>
        </p:nvSpPr>
        <p:spPr>
          <a:xfrm>
            <a:off x="4374928" y="2968147"/>
            <a:ext cx="4162649" cy="842954"/>
          </a:xfrm>
          <a:prstGeom prst="borderCallout1">
            <a:avLst>
              <a:gd name="adj1" fmla="val 48564"/>
              <a:gd name="adj2" fmla="val -4501"/>
              <a:gd name="adj3" fmla="val 47783"/>
              <a:gd name="adj4" fmla="val -84268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14313" indent="-214313">
              <a:buFont typeface="Wingdings" panose="05000000000000000000" pitchFamily="2" charset="2"/>
              <a:buChar char="§"/>
              <a:defRPr/>
            </a:pPr>
            <a:r>
              <a:rPr lang="pt-BR" sz="1050" dirty="0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/>
              </a:rPr>
              <a:t>Colaboração entre </a:t>
            </a:r>
            <a:r>
              <a:rPr lang="pt-BR" sz="1050" dirty="0" err="1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/>
              </a:rPr>
              <a:t>Squads</a:t>
            </a:r>
            <a:r>
              <a:rPr lang="pt-BR" sz="1050" dirty="0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/>
              </a:rPr>
              <a:t>;</a:t>
            </a:r>
          </a:p>
          <a:p>
            <a:pPr marL="214313" indent="-214313">
              <a:buFont typeface="Wingdings" panose="05000000000000000000" pitchFamily="2" charset="2"/>
              <a:buChar char="§"/>
              <a:defRPr/>
            </a:pPr>
            <a:r>
              <a:rPr lang="pt-BR" sz="1050" dirty="0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/>
              </a:rPr>
              <a:t>Remove impedimentos da cadeia de valor que afetam as releases;</a:t>
            </a:r>
          </a:p>
          <a:p>
            <a:pPr marL="214313" indent="-214313">
              <a:buFont typeface="Wingdings" panose="05000000000000000000" pitchFamily="2" charset="2"/>
              <a:buChar char="§"/>
              <a:defRPr/>
            </a:pPr>
            <a:r>
              <a:rPr lang="pt-BR" sz="1050" dirty="0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/>
              </a:rPr>
              <a:t>Apoio na estratégia de entrega junto aos </a:t>
            </a:r>
            <a:r>
              <a:rPr lang="pt-BR" sz="1050" dirty="0" err="1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/>
              </a:rPr>
              <a:t>POs</a:t>
            </a:r>
            <a:r>
              <a:rPr lang="pt-BR" sz="1050" dirty="0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/>
              </a:rPr>
              <a:t>;</a:t>
            </a:r>
          </a:p>
          <a:p>
            <a:pPr marL="214313" indent="-214313">
              <a:buFont typeface="Wingdings" panose="05000000000000000000" pitchFamily="2" charset="2"/>
              <a:buChar char="§"/>
              <a:defRPr/>
            </a:pPr>
            <a:r>
              <a:rPr lang="pt-BR" sz="1050" dirty="0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/>
              </a:rPr>
              <a:t>Melhoria contínua do processo das releases da cadeia de valor (planejamento, execução e entrega);</a:t>
            </a:r>
          </a:p>
        </p:txBody>
      </p:sp>
      <p:sp>
        <p:nvSpPr>
          <p:cNvPr id="18" name="CaixaDeTexto 17">
            <a:extLst>
              <a:ext uri="{FF2B5EF4-FFF2-40B4-BE49-F238E27FC236}">
                <a16:creationId xmlns:a16="http://schemas.microsoft.com/office/drawing/2014/main" id="{A15E71AB-5BFF-40FD-9D19-05BECC3DA4EA}"/>
              </a:ext>
            </a:extLst>
          </p:cNvPr>
          <p:cNvSpPr txBox="1"/>
          <p:nvPr/>
        </p:nvSpPr>
        <p:spPr>
          <a:xfrm flipH="1">
            <a:off x="847698" y="3381307"/>
            <a:ext cx="3314984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pt-BR" sz="1050" dirty="0">
                <a:solidFill>
                  <a:prstClr val="white">
                    <a:lumMod val="50000"/>
                  </a:prstClr>
                </a:solidFill>
                <a:latin typeface="Calibri" panose="020F0502020204030204"/>
              </a:rPr>
              <a:t>Apoia as </a:t>
            </a:r>
            <a:r>
              <a:rPr lang="pt-BR" sz="1050" dirty="0" err="1">
                <a:solidFill>
                  <a:prstClr val="white">
                    <a:lumMod val="50000"/>
                  </a:prstClr>
                </a:solidFill>
                <a:latin typeface="Calibri" panose="020F0502020204030204"/>
              </a:rPr>
              <a:t>Squads</a:t>
            </a:r>
            <a:r>
              <a:rPr lang="pt-BR" sz="1050" dirty="0">
                <a:solidFill>
                  <a:prstClr val="white">
                    <a:lumMod val="50000"/>
                  </a:prstClr>
                </a:solidFill>
                <a:latin typeface="Calibri" panose="020F0502020204030204"/>
              </a:rPr>
              <a:t> no planejamento das releases e no acompanhamento das atividades “</a:t>
            </a:r>
            <a:r>
              <a:rPr lang="pt-BR" sz="1050" dirty="0" err="1">
                <a:solidFill>
                  <a:prstClr val="white">
                    <a:lumMod val="50000"/>
                  </a:prstClr>
                </a:solidFill>
                <a:latin typeface="Calibri" panose="020F0502020204030204"/>
              </a:rPr>
              <a:t>cross</a:t>
            </a:r>
            <a:r>
              <a:rPr lang="pt-BR" sz="1050" dirty="0">
                <a:solidFill>
                  <a:prstClr val="white">
                    <a:lumMod val="50000"/>
                  </a:prstClr>
                </a:solidFill>
                <a:latin typeface="Calibri" panose="020F0502020204030204"/>
              </a:rPr>
              <a:t> </a:t>
            </a:r>
            <a:r>
              <a:rPr lang="pt-BR" sz="1050" dirty="0" err="1">
                <a:solidFill>
                  <a:prstClr val="white">
                    <a:lumMod val="50000"/>
                  </a:prstClr>
                </a:solidFill>
                <a:latin typeface="Calibri" panose="020F0502020204030204"/>
              </a:rPr>
              <a:t>squads</a:t>
            </a:r>
            <a:r>
              <a:rPr lang="pt-BR" sz="1050" dirty="0">
                <a:solidFill>
                  <a:prstClr val="white">
                    <a:lumMod val="50000"/>
                  </a:prstClr>
                </a:solidFill>
                <a:latin typeface="Calibri" panose="020F0502020204030204"/>
              </a:rPr>
              <a:t>”.</a:t>
            </a:r>
          </a:p>
        </p:txBody>
      </p:sp>
      <p:sp>
        <p:nvSpPr>
          <p:cNvPr id="19" name="Retângulo 18">
            <a:extLst>
              <a:ext uri="{FF2B5EF4-FFF2-40B4-BE49-F238E27FC236}">
                <a16:creationId xmlns:a16="http://schemas.microsoft.com/office/drawing/2014/main" id="{DF306FBF-859C-4E6D-9108-901102C59B55}"/>
              </a:ext>
            </a:extLst>
          </p:cNvPr>
          <p:cNvSpPr/>
          <p:nvPr/>
        </p:nvSpPr>
        <p:spPr>
          <a:xfrm>
            <a:off x="842545" y="2973254"/>
            <a:ext cx="3314984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pt-BR" sz="1050" dirty="0">
                <a:solidFill>
                  <a:prstClr val="white">
                    <a:lumMod val="50000"/>
                  </a:prstClr>
                </a:solidFill>
                <a:latin typeface="Calibri" panose="020F0502020204030204"/>
              </a:rPr>
              <a:t>Facilita a comunicação e sincronização do trabalho entre </a:t>
            </a:r>
            <a:r>
              <a:rPr lang="pt-BR" sz="1050" dirty="0" err="1">
                <a:solidFill>
                  <a:prstClr val="white">
                    <a:lumMod val="50000"/>
                  </a:prstClr>
                </a:solidFill>
                <a:latin typeface="Calibri" panose="020F0502020204030204"/>
              </a:rPr>
              <a:t>Squads</a:t>
            </a:r>
            <a:r>
              <a:rPr lang="pt-BR" sz="1050" dirty="0">
                <a:solidFill>
                  <a:prstClr val="white">
                    <a:lumMod val="50000"/>
                  </a:prstClr>
                </a:solidFill>
                <a:latin typeface="Calibri" panose="020F0502020204030204"/>
              </a:rPr>
              <a:t>;</a:t>
            </a:r>
          </a:p>
        </p:txBody>
      </p:sp>
      <p:sp>
        <p:nvSpPr>
          <p:cNvPr id="20" name="Espaço Reservado para Texto 1">
            <a:extLst>
              <a:ext uri="{FF2B5EF4-FFF2-40B4-BE49-F238E27FC236}">
                <a16:creationId xmlns:a16="http://schemas.microsoft.com/office/drawing/2014/main" id="{D26A9969-0271-426A-8408-B11A519CBEC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4203" y="575841"/>
            <a:ext cx="7953374" cy="383260"/>
          </a:xfrm>
        </p:spPr>
        <p:txBody>
          <a:bodyPr/>
          <a:lstStyle/>
          <a:p>
            <a:r>
              <a:rPr lang="pt-BR" dirty="0"/>
              <a:t>PAPEIS</a:t>
            </a:r>
            <a:endParaRPr lang="pt-BR" dirty="0">
              <a:solidFill>
                <a:srgbClr val="FF0000"/>
              </a:solidFill>
            </a:endParaRPr>
          </a:p>
        </p:txBody>
      </p:sp>
      <p:sp>
        <p:nvSpPr>
          <p:cNvPr id="21" name="Espaço Reservado para Texto 2">
            <a:extLst>
              <a:ext uri="{FF2B5EF4-FFF2-40B4-BE49-F238E27FC236}">
                <a16:creationId xmlns:a16="http://schemas.microsoft.com/office/drawing/2014/main" id="{35E59AD7-A794-4600-B127-55AF867A6BE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93725" y="901951"/>
            <a:ext cx="7953374" cy="141344"/>
          </a:xfrm>
        </p:spPr>
        <p:txBody>
          <a:bodyPr/>
          <a:lstStyle/>
          <a:p>
            <a:r>
              <a:rPr lang="pt-BR" dirty="0"/>
              <a:t>O modelo proposto de times (</a:t>
            </a:r>
            <a:r>
              <a:rPr lang="pt-BR" dirty="0" err="1"/>
              <a:t>Squads</a:t>
            </a:r>
            <a:r>
              <a:rPr lang="pt-BR" dirty="0"/>
              <a:t>) de suporte à cadeia de valor promove alguns benefícios como os descritos a seguir.</a:t>
            </a:r>
          </a:p>
        </p:txBody>
      </p:sp>
    </p:spTree>
    <p:extLst>
      <p:ext uri="{BB962C8B-B14F-4D97-AF65-F5344CB8AC3E}">
        <p14:creationId xmlns:p14="http://schemas.microsoft.com/office/powerpoint/2010/main" val="19399622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err="1"/>
              <a:t>Círculo</a:t>
            </a:r>
            <a:r>
              <a:rPr lang="en-US" dirty="0"/>
              <a:t> virtuoso</a:t>
            </a:r>
            <a:endParaRPr lang="en-US" dirty="0">
              <a:solidFill>
                <a:srgbClr val="EC0000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Freeform 81"/>
          <p:cNvSpPr>
            <a:spLocks noEditPoints="1"/>
          </p:cNvSpPr>
          <p:nvPr/>
        </p:nvSpPr>
        <p:spPr bwMode="auto">
          <a:xfrm>
            <a:off x="5839688" y="1963749"/>
            <a:ext cx="319902" cy="291676"/>
          </a:xfrm>
          <a:custGeom>
            <a:avLst/>
            <a:gdLst>
              <a:gd name="T0" fmla="*/ 345 w 353"/>
              <a:gd name="T1" fmla="*/ 273 h 321"/>
              <a:gd name="T2" fmla="*/ 192 w 353"/>
              <a:gd name="T3" fmla="*/ 273 h 321"/>
              <a:gd name="T4" fmla="*/ 152 w 353"/>
              <a:gd name="T5" fmla="*/ 241 h 321"/>
              <a:gd name="T6" fmla="*/ 113 w 353"/>
              <a:gd name="T7" fmla="*/ 273 h 321"/>
              <a:gd name="T8" fmla="*/ 8 w 353"/>
              <a:gd name="T9" fmla="*/ 273 h 321"/>
              <a:gd name="T10" fmla="*/ 0 w 353"/>
              <a:gd name="T11" fmla="*/ 281 h 321"/>
              <a:gd name="T12" fmla="*/ 8 w 353"/>
              <a:gd name="T13" fmla="*/ 289 h 321"/>
              <a:gd name="T14" fmla="*/ 113 w 353"/>
              <a:gd name="T15" fmla="*/ 289 h 321"/>
              <a:gd name="T16" fmla="*/ 152 w 353"/>
              <a:gd name="T17" fmla="*/ 321 h 321"/>
              <a:gd name="T18" fmla="*/ 192 w 353"/>
              <a:gd name="T19" fmla="*/ 289 h 321"/>
              <a:gd name="T20" fmla="*/ 345 w 353"/>
              <a:gd name="T21" fmla="*/ 289 h 321"/>
              <a:gd name="T22" fmla="*/ 353 w 353"/>
              <a:gd name="T23" fmla="*/ 281 h 321"/>
              <a:gd name="T24" fmla="*/ 345 w 353"/>
              <a:gd name="T25" fmla="*/ 273 h 321"/>
              <a:gd name="T26" fmla="*/ 152 w 353"/>
              <a:gd name="T27" fmla="*/ 305 h 321"/>
              <a:gd name="T28" fmla="*/ 128 w 353"/>
              <a:gd name="T29" fmla="*/ 281 h 321"/>
              <a:gd name="T30" fmla="*/ 152 w 353"/>
              <a:gd name="T31" fmla="*/ 257 h 321"/>
              <a:gd name="T32" fmla="*/ 177 w 353"/>
              <a:gd name="T33" fmla="*/ 281 h 321"/>
              <a:gd name="T34" fmla="*/ 152 w 353"/>
              <a:gd name="T35" fmla="*/ 305 h 321"/>
              <a:gd name="T36" fmla="*/ 8 w 353"/>
              <a:gd name="T37" fmla="*/ 48 h 321"/>
              <a:gd name="T38" fmla="*/ 49 w 353"/>
              <a:gd name="T39" fmla="*/ 48 h 321"/>
              <a:gd name="T40" fmla="*/ 88 w 353"/>
              <a:gd name="T41" fmla="*/ 80 h 321"/>
              <a:gd name="T42" fmla="*/ 128 w 353"/>
              <a:gd name="T43" fmla="*/ 48 h 321"/>
              <a:gd name="T44" fmla="*/ 345 w 353"/>
              <a:gd name="T45" fmla="*/ 48 h 321"/>
              <a:gd name="T46" fmla="*/ 353 w 353"/>
              <a:gd name="T47" fmla="*/ 40 h 321"/>
              <a:gd name="T48" fmla="*/ 345 w 353"/>
              <a:gd name="T49" fmla="*/ 32 h 321"/>
              <a:gd name="T50" fmla="*/ 128 w 353"/>
              <a:gd name="T51" fmla="*/ 32 h 321"/>
              <a:gd name="T52" fmla="*/ 88 w 353"/>
              <a:gd name="T53" fmla="*/ 0 h 321"/>
              <a:gd name="T54" fmla="*/ 49 w 353"/>
              <a:gd name="T55" fmla="*/ 32 h 321"/>
              <a:gd name="T56" fmla="*/ 8 w 353"/>
              <a:gd name="T57" fmla="*/ 32 h 321"/>
              <a:gd name="T58" fmla="*/ 0 w 353"/>
              <a:gd name="T59" fmla="*/ 40 h 321"/>
              <a:gd name="T60" fmla="*/ 8 w 353"/>
              <a:gd name="T61" fmla="*/ 48 h 321"/>
              <a:gd name="T62" fmla="*/ 88 w 353"/>
              <a:gd name="T63" fmla="*/ 16 h 321"/>
              <a:gd name="T64" fmla="*/ 112 w 353"/>
              <a:gd name="T65" fmla="*/ 40 h 321"/>
              <a:gd name="T66" fmla="*/ 88 w 353"/>
              <a:gd name="T67" fmla="*/ 64 h 321"/>
              <a:gd name="T68" fmla="*/ 64 w 353"/>
              <a:gd name="T69" fmla="*/ 40 h 321"/>
              <a:gd name="T70" fmla="*/ 88 w 353"/>
              <a:gd name="T71" fmla="*/ 16 h 321"/>
              <a:gd name="T72" fmla="*/ 345 w 353"/>
              <a:gd name="T73" fmla="*/ 152 h 321"/>
              <a:gd name="T74" fmla="*/ 320 w 353"/>
              <a:gd name="T75" fmla="*/ 152 h 321"/>
              <a:gd name="T76" fmla="*/ 281 w 353"/>
              <a:gd name="T77" fmla="*/ 120 h 321"/>
              <a:gd name="T78" fmla="*/ 242 w 353"/>
              <a:gd name="T79" fmla="*/ 152 h 321"/>
              <a:gd name="T80" fmla="*/ 8 w 353"/>
              <a:gd name="T81" fmla="*/ 152 h 321"/>
              <a:gd name="T82" fmla="*/ 0 w 353"/>
              <a:gd name="T83" fmla="*/ 160 h 321"/>
              <a:gd name="T84" fmla="*/ 8 w 353"/>
              <a:gd name="T85" fmla="*/ 168 h 321"/>
              <a:gd name="T86" fmla="*/ 242 w 353"/>
              <a:gd name="T87" fmla="*/ 168 h 321"/>
              <a:gd name="T88" fmla="*/ 281 w 353"/>
              <a:gd name="T89" fmla="*/ 201 h 321"/>
              <a:gd name="T90" fmla="*/ 320 w 353"/>
              <a:gd name="T91" fmla="*/ 168 h 321"/>
              <a:gd name="T92" fmla="*/ 345 w 353"/>
              <a:gd name="T93" fmla="*/ 168 h 321"/>
              <a:gd name="T94" fmla="*/ 353 w 353"/>
              <a:gd name="T95" fmla="*/ 160 h 321"/>
              <a:gd name="T96" fmla="*/ 345 w 353"/>
              <a:gd name="T97" fmla="*/ 152 h 321"/>
              <a:gd name="T98" fmla="*/ 281 w 353"/>
              <a:gd name="T99" fmla="*/ 184 h 321"/>
              <a:gd name="T100" fmla="*/ 257 w 353"/>
              <a:gd name="T101" fmla="*/ 160 h 321"/>
              <a:gd name="T102" fmla="*/ 281 w 353"/>
              <a:gd name="T103" fmla="*/ 136 h 321"/>
              <a:gd name="T104" fmla="*/ 305 w 353"/>
              <a:gd name="T105" fmla="*/ 160 h 321"/>
              <a:gd name="T106" fmla="*/ 281 w 353"/>
              <a:gd name="T107" fmla="*/ 184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353" h="321">
                <a:moveTo>
                  <a:pt x="345" y="273"/>
                </a:moveTo>
                <a:cubicBezTo>
                  <a:pt x="192" y="273"/>
                  <a:pt x="192" y="273"/>
                  <a:pt x="192" y="273"/>
                </a:cubicBezTo>
                <a:cubicBezTo>
                  <a:pt x="188" y="254"/>
                  <a:pt x="172" y="241"/>
                  <a:pt x="152" y="241"/>
                </a:cubicBezTo>
                <a:cubicBezTo>
                  <a:pt x="133" y="241"/>
                  <a:pt x="117" y="254"/>
                  <a:pt x="113" y="273"/>
                </a:cubicBezTo>
                <a:cubicBezTo>
                  <a:pt x="8" y="273"/>
                  <a:pt x="8" y="273"/>
                  <a:pt x="8" y="273"/>
                </a:cubicBezTo>
                <a:cubicBezTo>
                  <a:pt x="3" y="273"/>
                  <a:pt x="0" y="276"/>
                  <a:pt x="0" y="281"/>
                </a:cubicBezTo>
                <a:cubicBezTo>
                  <a:pt x="0" y="285"/>
                  <a:pt x="3" y="289"/>
                  <a:pt x="8" y="289"/>
                </a:cubicBezTo>
                <a:cubicBezTo>
                  <a:pt x="113" y="289"/>
                  <a:pt x="113" y="289"/>
                  <a:pt x="113" y="289"/>
                </a:cubicBezTo>
                <a:cubicBezTo>
                  <a:pt x="117" y="307"/>
                  <a:pt x="133" y="321"/>
                  <a:pt x="152" y="321"/>
                </a:cubicBezTo>
                <a:cubicBezTo>
                  <a:pt x="172" y="321"/>
                  <a:pt x="188" y="307"/>
                  <a:pt x="192" y="289"/>
                </a:cubicBezTo>
                <a:cubicBezTo>
                  <a:pt x="345" y="289"/>
                  <a:pt x="345" y="289"/>
                  <a:pt x="345" y="289"/>
                </a:cubicBezTo>
                <a:cubicBezTo>
                  <a:pt x="350" y="289"/>
                  <a:pt x="353" y="285"/>
                  <a:pt x="353" y="281"/>
                </a:cubicBezTo>
                <a:cubicBezTo>
                  <a:pt x="353" y="276"/>
                  <a:pt x="350" y="273"/>
                  <a:pt x="345" y="273"/>
                </a:cubicBezTo>
                <a:moveTo>
                  <a:pt x="152" y="305"/>
                </a:moveTo>
                <a:cubicBezTo>
                  <a:pt x="139" y="305"/>
                  <a:pt x="128" y="294"/>
                  <a:pt x="128" y="281"/>
                </a:cubicBezTo>
                <a:cubicBezTo>
                  <a:pt x="128" y="267"/>
                  <a:pt x="139" y="257"/>
                  <a:pt x="152" y="257"/>
                </a:cubicBezTo>
                <a:cubicBezTo>
                  <a:pt x="166" y="257"/>
                  <a:pt x="177" y="267"/>
                  <a:pt x="177" y="281"/>
                </a:cubicBezTo>
                <a:cubicBezTo>
                  <a:pt x="177" y="294"/>
                  <a:pt x="166" y="305"/>
                  <a:pt x="152" y="305"/>
                </a:cubicBezTo>
                <a:moveTo>
                  <a:pt x="8" y="48"/>
                </a:moveTo>
                <a:cubicBezTo>
                  <a:pt x="49" y="48"/>
                  <a:pt x="49" y="48"/>
                  <a:pt x="49" y="48"/>
                </a:cubicBezTo>
                <a:cubicBezTo>
                  <a:pt x="53" y="66"/>
                  <a:pt x="69" y="80"/>
                  <a:pt x="88" y="80"/>
                </a:cubicBezTo>
                <a:cubicBezTo>
                  <a:pt x="108" y="80"/>
                  <a:pt x="124" y="66"/>
                  <a:pt x="128" y="48"/>
                </a:cubicBezTo>
                <a:cubicBezTo>
                  <a:pt x="345" y="48"/>
                  <a:pt x="345" y="48"/>
                  <a:pt x="345" y="48"/>
                </a:cubicBezTo>
                <a:cubicBezTo>
                  <a:pt x="350" y="48"/>
                  <a:pt x="353" y="44"/>
                  <a:pt x="353" y="40"/>
                </a:cubicBezTo>
                <a:cubicBezTo>
                  <a:pt x="353" y="36"/>
                  <a:pt x="350" y="32"/>
                  <a:pt x="345" y="32"/>
                </a:cubicBezTo>
                <a:cubicBezTo>
                  <a:pt x="128" y="32"/>
                  <a:pt x="128" y="32"/>
                  <a:pt x="128" y="32"/>
                </a:cubicBezTo>
                <a:cubicBezTo>
                  <a:pt x="124" y="14"/>
                  <a:pt x="108" y="0"/>
                  <a:pt x="88" y="0"/>
                </a:cubicBezTo>
                <a:cubicBezTo>
                  <a:pt x="69" y="0"/>
                  <a:pt x="53" y="14"/>
                  <a:pt x="49" y="32"/>
                </a:cubicBezTo>
                <a:cubicBezTo>
                  <a:pt x="8" y="32"/>
                  <a:pt x="8" y="32"/>
                  <a:pt x="8" y="32"/>
                </a:cubicBezTo>
                <a:cubicBezTo>
                  <a:pt x="3" y="32"/>
                  <a:pt x="0" y="36"/>
                  <a:pt x="0" y="40"/>
                </a:cubicBezTo>
                <a:cubicBezTo>
                  <a:pt x="0" y="44"/>
                  <a:pt x="3" y="48"/>
                  <a:pt x="8" y="48"/>
                </a:cubicBezTo>
                <a:moveTo>
                  <a:pt x="88" y="16"/>
                </a:moveTo>
                <a:cubicBezTo>
                  <a:pt x="102" y="16"/>
                  <a:pt x="112" y="27"/>
                  <a:pt x="112" y="40"/>
                </a:cubicBezTo>
                <a:cubicBezTo>
                  <a:pt x="112" y="53"/>
                  <a:pt x="102" y="64"/>
                  <a:pt x="88" y="64"/>
                </a:cubicBezTo>
                <a:cubicBezTo>
                  <a:pt x="75" y="64"/>
                  <a:pt x="64" y="53"/>
                  <a:pt x="64" y="40"/>
                </a:cubicBezTo>
                <a:cubicBezTo>
                  <a:pt x="64" y="27"/>
                  <a:pt x="75" y="16"/>
                  <a:pt x="88" y="16"/>
                </a:cubicBezTo>
                <a:moveTo>
                  <a:pt x="345" y="152"/>
                </a:moveTo>
                <a:cubicBezTo>
                  <a:pt x="320" y="152"/>
                  <a:pt x="320" y="152"/>
                  <a:pt x="320" y="152"/>
                </a:cubicBezTo>
                <a:cubicBezTo>
                  <a:pt x="316" y="134"/>
                  <a:pt x="300" y="120"/>
                  <a:pt x="281" y="120"/>
                </a:cubicBezTo>
                <a:cubicBezTo>
                  <a:pt x="261" y="120"/>
                  <a:pt x="245" y="134"/>
                  <a:pt x="242" y="152"/>
                </a:cubicBezTo>
                <a:cubicBezTo>
                  <a:pt x="8" y="152"/>
                  <a:pt x="8" y="152"/>
                  <a:pt x="8" y="152"/>
                </a:cubicBezTo>
                <a:cubicBezTo>
                  <a:pt x="3" y="152"/>
                  <a:pt x="0" y="156"/>
                  <a:pt x="0" y="160"/>
                </a:cubicBezTo>
                <a:cubicBezTo>
                  <a:pt x="0" y="165"/>
                  <a:pt x="3" y="168"/>
                  <a:pt x="8" y="168"/>
                </a:cubicBezTo>
                <a:cubicBezTo>
                  <a:pt x="242" y="168"/>
                  <a:pt x="242" y="168"/>
                  <a:pt x="242" y="168"/>
                </a:cubicBezTo>
                <a:cubicBezTo>
                  <a:pt x="245" y="187"/>
                  <a:pt x="261" y="201"/>
                  <a:pt x="281" y="201"/>
                </a:cubicBezTo>
                <a:cubicBezTo>
                  <a:pt x="300" y="201"/>
                  <a:pt x="316" y="187"/>
                  <a:pt x="320" y="168"/>
                </a:cubicBezTo>
                <a:cubicBezTo>
                  <a:pt x="345" y="168"/>
                  <a:pt x="345" y="168"/>
                  <a:pt x="345" y="168"/>
                </a:cubicBezTo>
                <a:cubicBezTo>
                  <a:pt x="350" y="168"/>
                  <a:pt x="353" y="165"/>
                  <a:pt x="353" y="160"/>
                </a:cubicBezTo>
                <a:cubicBezTo>
                  <a:pt x="353" y="156"/>
                  <a:pt x="350" y="152"/>
                  <a:pt x="345" y="152"/>
                </a:cubicBezTo>
                <a:moveTo>
                  <a:pt x="281" y="184"/>
                </a:moveTo>
                <a:cubicBezTo>
                  <a:pt x="268" y="184"/>
                  <a:pt x="257" y="174"/>
                  <a:pt x="257" y="160"/>
                </a:cubicBezTo>
                <a:cubicBezTo>
                  <a:pt x="257" y="147"/>
                  <a:pt x="268" y="136"/>
                  <a:pt x="281" y="136"/>
                </a:cubicBezTo>
                <a:cubicBezTo>
                  <a:pt x="294" y="136"/>
                  <a:pt x="305" y="147"/>
                  <a:pt x="305" y="160"/>
                </a:cubicBezTo>
                <a:cubicBezTo>
                  <a:pt x="305" y="174"/>
                  <a:pt x="294" y="184"/>
                  <a:pt x="281" y="184"/>
                </a:cubicBezTo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>
              <a:solidFill>
                <a:srgbClr val="000000"/>
              </a:solidFill>
              <a:latin typeface="Calibri" panose="020F0502020204030204"/>
            </a:endParaRPr>
          </a:p>
        </p:txBody>
      </p:sp>
      <p:sp>
        <p:nvSpPr>
          <p:cNvPr id="10" name="Freeform 9"/>
          <p:cNvSpPr>
            <a:spLocks noEditPoints="1"/>
          </p:cNvSpPr>
          <p:nvPr/>
        </p:nvSpPr>
        <p:spPr bwMode="auto">
          <a:xfrm>
            <a:off x="7296641" y="2680236"/>
            <a:ext cx="262275" cy="321079"/>
          </a:xfrm>
          <a:custGeom>
            <a:avLst/>
            <a:gdLst>
              <a:gd name="T0" fmla="*/ 144 w 289"/>
              <a:gd name="T1" fmla="*/ 145 h 353"/>
              <a:gd name="T2" fmla="*/ 144 w 289"/>
              <a:gd name="T3" fmla="*/ 129 h 353"/>
              <a:gd name="T4" fmla="*/ 40 w 289"/>
              <a:gd name="T5" fmla="*/ 137 h 353"/>
              <a:gd name="T6" fmla="*/ 273 w 289"/>
              <a:gd name="T7" fmla="*/ 32 h 353"/>
              <a:gd name="T8" fmla="*/ 232 w 289"/>
              <a:gd name="T9" fmla="*/ 8 h 353"/>
              <a:gd name="T10" fmla="*/ 216 w 289"/>
              <a:gd name="T11" fmla="*/ 8 h 353"/>
              <a:gd name="T12" fmla="*/ 200 w 289"/>
              <a:gd name="T13" fmla="*/ 32 h 353"/>
              <a:gd name="T14" fmla="*/ 192 w 289"/>
              <a:gd name="T15" fmla="*/ 0 h 353"/>
              <a:gd name="T16" fmla="*/ 184 w 289"/>
              <a:gd name="T17" fmla="*/ 32 h 353"/>
              <a:gd name="T18" fmla="*/ 168 w 289"/>
              <a:gd name="T19" fmla="*/ 8 h 353"/>
              <a:gd name="T20" fmla="*/ 152 w 289"/>
              <a:gd name="T21" fmla="*/ 8 h 353"/>
              <a:gd name="T22" fmla="*/ 136 w 289"/>
              <a:gd name="T23" fmla="*/ 32 h 353"/>
              <a:gd name="T24" fmla="*/ 128 w 289"/>
              <a:gd name="T25" fmla="*/ 0 h 353"/>
              <a:gd name="T26" fmla="*/ 120 w 289"/>
              <a:gd name="T27" fmla="*/ 32 h 353"/>
              <a:gd name="T28" fmla="*/ 104 w 289"/>
              <a:gd name="T29" fmla="*/ 8 h 353"/>
              <a:gd name="T30" fmla="*/ 88 w 289"/>
              <a:gd name="T31" fmla="*/ 8 h 353"/>
              <a:gd name="T32" fmla="*/ 72 w 289"/>
              <a:gd name="T33" fmla="*/ 32 h 353"/>
              <a:gd name="T34" fmla="*/ 64 w 289"/>
              <a:gd name="T35" fmla="*/ 0 h 353"/>
              <a:gd name="T36" fmla="*/ 56 w 289"/>
              <a:gd name="T37" fmla="*/ 32 h 353"/>
              <a:gd name="T38" fmla="*/ 0 w 289"/>
              <a:gd name="T39" fmla="*/ 48 h 353"/>
              <a:gd name="T40" fmla="*/ 16 w 289"/>
              <a:gd name="T41" fmla="*/ 353 h 353"/>
              <a:gd name="T42" fmla="*/ 289 w 289"/>
              <a:gd name="T43" fmla="*/ 337 h 353"/>
              <a:gd name="T44" fmla="*/ 273 w 289"/>
              <a:gd name="T45" fmla="*/ 32 h 353"/>
              <a:gd name="T46" fmla="*/ 16 w 289"/>
              <a:gd name="T47" fmla="*/ 289 h 353"/>
              <a:gd name="T48" fmla="*/ 16 w 289"/>
              <a:gd name="T49" fmla="*/ 337 h 353"/>
              <a:gd name="T50" fmla="*/ 88 w 289"/>
              <a:gd name="T51" fmla="*/ 337 h 353"/>
              <a:gd name="T52" fmla="*/ 16 w 289"/>
              <a:gd name="T53" fmla="*/ 48 h 353"/>
              <a:gd name="T54" fmla="*/ 56 w 289"/>
              <a:gd name="T55" fmla="*/ 72 h 353"/>
              <a:gd name="T56" fmla="*/ 72 w 289"/>
              <a:gd name="T57" fmla="*/ 72 h 353"/>
              <a:gd name="T58" fmla="*/ 88 w 289"/>
              <a:gd name="T59" fmla="*/ 48 h 353"/>
              <a:gd name="T60" fmla="*/ 96 w 289"/>
              <a:gd name="T61" fmla="*/ 80 h 353"/>
              <a:gd name="T62" fmla="*/ 104 w 289"/>
              <a:gd name="T63" fmla="*/ 48 h 353"/>
              <a:gd name="T64" fmla="*/ 120 w 289"/>
              <a:gd name="T65" fmla="*/ 72 h 353"/>
              <a:gd name="T66" fmla="*/ 136 w 289"/>
              <a:gd name="T67" fmla="*/ 72 h 353"/>
              <a:gd name="T68" fmla="*/ 152 w 289"/>
              <a:gd name="T69" fmla="*/ 48 h 353"/>
              <a:gd name="T70" fmla="*/ 160 w 289"/>
              <a:gd name="T71" fmla="*/ 80 h 353"/>
              <a:gd name="T72" fmla="*/ 168 w 289"/>
              <a:gd name="T73" fmla="*/ 48 h 353"/>
              <a:gd name="T74" fmla="*/ 184 w 289"/>
              <a:gd name="T75" fmla="*/ 72 h 353"/>
              <a:gd name="T76" fmla="*/ 200 w 289"/>
              <a:gd name="T77" fmla="*/ 72 h 353"/>
              <a:gd name="T78" fmla="*/ 216 w 289"/>
              <a:gd name="T79" fmla="*/ 48 h 353"/>
              <a:gd name="T80" fmla="*/ 224 w 289"/>
              <a:gd name="T81" fmla="*/ 80 h 353"/>
              <a:gd name="T82" fmla="*/ 232 w 289"/>
              <a:gd name="T83" fmla="*/ 48 h 353"/>
              <a:gd name="T84" fmla="*/ 273 w 289"/>
              <a:gd name="T85" fmla="*/ 337 h 353"/>
              <a:gd name="T86" fmla="*/ 48 w 289"/>
              <a:gd name="T87" fmla="*/ 193 h 353"/>
              <a:gd name="T88" fmla="*/ 249 w 289"/>
              <a:gd name="T89" fmla="*/ 185 h 353"/>
              <a:gd name="T90" fmla="*/ 48 w 289"/>
              <a:gd name="T91" fmla="*/ 177 h 353"/>
              <a:gd name="T92" fmla="*/ 192 w 289"/>
              <a:gd name="T93" fmla="*/ 225 h 353"/>
              <a:gd name="T94" fmla="*/ 40 w 289"/>
              <a:gd name="T95" fmla="*/ 233 h 353"/>
              <a:gd name="T96" fmla="*/ 192 w 289"/>
              <a:gd name="T97" fmla="*/ 241 h 353"/>
              <a:gd name="T98" fmla="*/ 192 w 289"/>
              <a:gd name="T99" fmla="*/ 225 h 3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289" h="353">
                <a:moveTo>
                  <a:pt x="48" y="145"/>
                </a:moveTo>
                <a:cubicBezTo>
                  <a:pt x="144" y="145"/>
                  <a:pt x="144" y="145"/>
                  <a:pt x="144" y="145"/>
                </a:cubicBezTo>
                <a:cubicBezTo>
                  <a:pt x="149" y="145"/>
                  <a:pt x="152" y="141"/>
                  <a:pt x="152" y="137"/>
                </a:cubicBezTo>
                <a:cubicBezTo>
                  <a:pt x="152" y="132"/>
                  <a:pt x="149" y="129"/>
                  <a:pt x="144" y="129"/>
                </a:cubicBezTo>
                <a:cubicBezTo>
                  <a:pt x="48" y="129"/>
                  <a:pt x="48" y="129"/>
                  <a:pt x="48" y="129"/>
                </a:cubicBezTo>
                <a:cubicBezTo>
                  <a:pt x="43" y="129"/>
                  <a:pt x="40" y="132"/>
                  <a:pt x="40" y="137"/>
                </a:cubicBezTo>
                <a:cubicBezTo>
                  <a:pt x="40" y="141"/>
                  <a:pt x="43" y="145"/>
                  <a:pt x="48" y="145"/>
                </a:cubicBezTo>
                <a:moveTo>
                  <a:pt x="273" y="32"/>
                </a:moveTo>
                <a:cubicBezTo>
                  <a:pt x="232" y="32"/>
                  <a:pt x="232" y="32"/>
                  <a:pt x="232" y="32"/>
                </a:cubicBezTo>
                <a:cubicBezTo>
                  <a:pt x="232" y="8"/>
                  <a:pt x="232" y="8"/>
                  <a:pt x="232" y="8"/>
                </a:cubicBezTo>
                <a:cubicBezTo>
                  <a:pt x="232" y="4"/>
                  <a:pt x="229" y="0"/>
                  <a:pt x="224" y="0"/>
                </a:cubicBezTo>
                <a:cubicBezTo>
                  <a:pt x="220" y="0"/>
                  <a:pt x="216" y="4"/>
                  <a:pt x="216" y="8"/>
                </a:cubicBezTo>
                <a:cubicBezTo>
                  <a:pt x="216" y="32"/>
                  <a:pt x="216" y="32"/>
                  <a:pt x="216" y="32"/>
                </a:cubicBezTo>
                <a:cubicBezTo>
                  <a:pt x="200" y="32"/>
                  <a:pt x="200" y="32"/>
                  <a:pt x="200" y="32"/>
                </a:cubicBezTo>
                <a:cubicBezTo>
                  <a:pt x="200" y="8"/>
                  <a:pt x="200" y="8"/>
                  <a:pt x="200" y="8"/>
                </a:cubicBezTo>
                <a:cubicBezTo>
                  <a:pt x="200" y="4"/>
                  <a:pt x="197" y="0"/>
                  <a:pt x="192" y="0"/>
                </a:cubicBezTo>
                <a:cubicBezTo>
                  <a:pt x="188" y="0"/>
                  <a:pt x="184" y="4"/>
                  <a:pt x="184" y="8"/>
                </a:cubicBezTo>
                <a:cubicBezTo>
                  <a:pt x="184" y="32"/>
                  <a:pt x="184" y="32"/>
                  <a:pt x="184" y="32"/>
                </a:cubicBezTo>
                <a:cubicBezTo>
                  <a:pt x="168" y="32"/>
                  <a:pt x="168" y="32"/>
                  <a:pt x="168" y="32"/>
                </a:cubicBezTo>
                <a:cubicBezTo>
                  <a:pt x="168" y="8"/>
                  <a:pt x="168" y="8"/>
                  <a:pt x="168" y="8"/>
                </a:cubicBezTo>
                <a:cubicBezTo>
                  <a:pt x="168" y="4"/>
                  <a:pt x="165" y="0"/>
                  <a:pt x="160" y="0"/>
                </a:cubicBezTo>
                <a:cubicBezTo>
                  <a:pt x="156" y="0"/>
                  <a:pt x="152" y="4"/>
                  <a:pt x="152" y="8"/>
                </a:cubicBezTo>
                <a:cubicBezTo>
                  <a:pt x="152" y="32"/>
                  <a:pt x="152" y="32"/>
                  <a:pt x="152" y="32"/>
                </a:cubicBezTo>
                <a:cubicBezTo>
                  <a:pt x="136" y="32"/>
                  <a:pt x="136" y="32"/>
                  <a:pt x="136" y="32"/>
                </a:cubicBezTo>
                <a:cubicBezTo>
                  <a:pt x="136" y="8"/>
                  <a:pt x="136" y="8"/>
                  <a:pt x="136" y="8"/>
                </a:cubicBezTo>
                <a:cubicBezTo>
                  <a:pt x="136" y="4"/>
                  <a:pt x="133" y="0"/>
                  <a:pt x="128" y="0"/>
                </a:cubicBezTo>
                <a:cubicBezTo>
                  <a:pt x="124" y="0"/>
                  <a:pt x="120" y="4"/>
                  <a:pt x="120" y="8"/>
                </a:cubicBezTo>
                <a:cubicBezTo>
                  <a:pt x="120" y="32"/>
                  <a:pt x="120" y="32"/>
                  <a:pt x="120" y="32"/>
                </a:cubicBezTo>
                <a:cubicBezTo>
                  <a:pt x="104" y="32"/>
                  <a:pt x="104" y="32"/>
                  <a:pt x="104" y="32"/>
                </a:cubicBezTo>
                <a:cubicBezTo>
                  <a:pt x="104" y="8"/>
                  <a:pt x="104" y="8"/>
                  <a:pt x="104" y="8"/>
                </a:cubicBezTo>
                <a:cubicBezTo>
                  <a:pt x="104" y="4"/>
                  <a:pt x="100" y="0"/>
                  <a:pt x="96" y="0"/>
                </a:cubicBezTo>
                <a:cubicBezTo>
                  <a:pt x="92" y="0"/>
                  <a:pt x="88" y="4"/>
                  <a:pt x="88" y="8"/>
                </a:cubicBezTo>
                <a:cubicBezTo>
                  <a:pt x="88" y="32"/>
                  <a:pt x="88" y="32"/>
                  <a:pt x="88" y="32"/>
                </a:cubicBezTo>
                <a:cubicBezTo>
                  <a:pt x="72" y="32"/>
                  <a:pt x="72" y="32"/>
                  <a:pt x="72" y="32"/>
                </a:cubicBezTo>
                <a:cubicBezTo>
                  <a:pt x="72" y="8"/>
                  <a:pt x="72" y="8"/>
                  <a:pt x="72" y="8"/>
                </a:cubicBezTo>
                <a:cubicBezTo>
                  <a:pt x="72" y="4"/>
                  <a:pt x="68" y="0"/>
                  <a:pt x="64" y="0"/>
                </a:cubicBezTo>
                <a:cubicBezTo>
                  <a:pt x="59" y="0"/>
                  <a:pt x="56" y="4"/>
                  <a:pt x="56" y="8"/>
                </a:cubicBezTo>
                <a:cubicBezTo>
                  <a:pt x="56" y="32"/>
                  <a:pt x="56" y="32"/>
                  <a:pt x="56" y="32"/>
                </a:cubicBezTo>
                <a:cubicBezTo>
                  <a:pt x="16" y="32"/>
                  <a:pt x="16" y="32"/>
                  <a:pt x="16" y="32"/>
                </a:cubicBezTo>
                <a:cubicBezTo>
                  <a:pt x="7" y="32"/>
                  <a:pt x="0" y="39"/>
                  <a:pt x="0" y="48"/>
                </a:cubicBezTo>
                <a:cubicBezTo>
                  <a:pt x="0" y="337"/>
                  <a:pt x="0" y="337"/>
                  <a:pt x="0" y="337"/>
                </a:cubicBezTo>
                <a:cubicBezTo>
                  <a:pt x="0" y="346"/>
                  <a:pt x="7" y="353"/>
                  <a:pt x="16" y="353"/>
                </a:cubicBezTo>
                <a:cubicBezTo>
                  <a:pt x="273" y="353"/>
                  <a:pt x="273" y="353"/>
                  <a:pt x="273" y="353"/>
                </a:cubicBezTo>
                <a:cubicBezTo>
                  <a:pt x="281" y="353"/>
                  <a:pt x="289" y="346"/>
                  <a:pt x="289" y="337"/>
                </a:cubicBezTo>
                <a:cubicBezTo>
                  <a:pt x="289" y="48"/>
                  <a:pt x="289" y="48"/>
                  <a:pt x="289" y="48"/>
                </a:cubicBezTo>
                <a:cubicBezTo>
                  <a:pt x="289" y="39"/>
                  <a:pt x="281" y="32"/>
                  <a:pt x="273" y="32"/>
                </a:cubicBezTo>
                <a:moveTo>
                  <a:pt x="16" y="337"/>
                </a:moveTo>
                <a:cubicBezTo>
                  <a:pt x="16" y="289"/>
                  <a:pt x="16" y="289"/>
                  <a:pt x="16" y="289"/>
                </a:cubicBezTo>
                <a:cubicBezTo>
                  <a:pt x="64" y="337"/>
                  <a:pt x="64" y="337"/>
                  <a:pt x="64" y="337"/>
                </a:cubicBezTo>
                <a:lnTo>
                  <a:pt x="16" y="337"/>
                </a:lnTo>
                <a:close/>
                <a:moveTo>
                  <a:pt x="273" y="337"/>
                </a:moveTo>
                <a:cubicBezTo>
                  <a:pt x="88" y="337"/>
                  <a:pt x="88" y="337"/>
                  <a:pt x="88" y="337"/>
                </a:cubicBezTo>
                <a:cubicBezTo>
                  <a:pt x="16" y="265"/>
                  <a:pt x="16" y="265"/>
                  <a:pt x="16" y="265"/>
                </a:cubicBezTo>
                <a:cubicBezTo>
                  <a:pt x="16" y="48"/>
                  <a:pt x="16" y="48"/>
                  <a:pt x="16" y="48"/>
                </a:cubicBezTo>
                <a:cubicBezTo>
                  <a:pt x="56" y="48"/>
                  <a:pt x="56" y="48"/>
                  <a:pt x="56" y="48"/>
                </a:cubicBezTo>
                <a:cubicBezTo>
                  <a:pt x="56" y="72"/>
                  <a:pt x="56" y="72"/>
                  <a:pt x="56" y="72"/>
                </a:cubicBezTo>
                <a:cubicBezTo>
                  <a:pt x="56" y="77"/>
                  <a:pt x="59" y="80"/>
                  <a:pt x="64" y="80"/>
                </a:cubicBezTo>
                <a:cubicBezTo>
                  <a:pt x="68" y="80"/>
                  <a:pt x="72" y="77"/>
                  <a:pt x="72" y="72"/>
                </a:cubicBezTo>
                <a:cubicBezTo>
                  <a:pt x="72" y="48"/>
                  <a:pt x="72" y="48"/>
                  <a:pt x="72" y="48"/>
                </a:cubicBezTo>
                <a:cubicBezTo>
                  <a:pt x="88" y="48"/>
                  <a:pt x="88" y="48"/>
                  <a:pt x="88" y="48"/>
                </a:cubicBezTo>
                <a:cubicBezTo>
                  <a:pt x="88" y="72"/>
                  <a:pt x="88" y="72"/>
                  <a:pt x="88" y="72"/>
                </a:cubicBezTo>
                <a:cubicBezTo>
                  <a:pt x="88" y="77"/>
                  <a:pt x="92" y="80"/>
                  <a:pt x="96" y="80"/>
                </a:cubicBezTo>
                <a:cubicBezTo>
                  <a:pt x="100" y="80"/>
                  <a:pt x="104" y="77"/>
                  <a:pt x="104" y="72"/>
                </a:cubicBezTo>
                <a:cubicBezTo>
                  <a:pt x="104" y="48"/>
                  <a:pt x="104" y="48"/>
                  <a:pt x="104" y="48"/>
                </a:cubicBezTo>
                <a:cubicBezTo>
                  <a:pt x="120" y="48"/>
                  <a:pt x="120" y="48"/>
                  <a:pt x="120" y="48"/>
                </a:cubicBezTo>
                <a:cubicBezTo>
                  <a:pt x="120" y="72"/>
                  <a:pt x="120" y="72"/>
                  <a:pt x="120" y="72"/>
                </a:cubicBezTo>
                <a:cubicBezTo>
                  <a:pt x="120" y="77"/>
                  <a:pt x="124" y="80"/>
                  <a:pt x="128" y="80"/>
                </a:cubicBezTo>
                <a:cubicBezTo>
                  <a:pt x="133" y="80"/>
                  <a:pt x="136" y="77"/>
                  <a:pt x="136" y="72"/>
                </a:cubicBezTo>
                <a:cubicBezTo>
                  <a:pt x="136" y="48"/>
                  <a:pt x="136" y="48"/>
                  <a:pt x="136" y="48"/>
                </a:cubicBezTo>
                <a:cubicBezTo>
                  <a:pt x="152" y="48"/>
                  <a:pt x="152" y="48"/>
                  <a:pt x="152" y="48"/>
                </a:cubicBezTo>
                <a:cubicBezTo>
                  <a:pt x="152" y="72"/>
                  <a:pt x="152" y="72"/>
                  <a:pt x="152" y="72"/>
                </a:cubicBezTo>
                <a:cubicBezTo>
                  <a:pt x="152" y="77"/>
                  <a:pt x="156" y="80"/>
                  <a:pt x="160" y="80"/>
                </a:cubicBezTo>
                <a:cubicBezTo>
                  <a:pt x="165" y="80"/>
                  <a:pt x="168" y="77"/>
                  <a:pt x="168" y="72"/>
                </a:cubicBezTo>
                <a:cubicBezTo>
                  <a:pt x="168" y="48"/>
                  <a:pt x="168" y="48"/>
                  <a:pt x="168" y="48"/>
                </a:cubicBezTo>
                <a:cubicBezTo>
                  <a:pt x="184" y="48"/>
                  <a:pt x="184" y="48"/>
                  <a:pt x="184" y="48"/>
                </a:cubicBezTo>
                <a:cubicBezTo>
                  <a:pt x="184" y="72"/>
                  <a:pt x="184" y="72"/>
                  <a:pt x="184" y="72"/>
                </a:cubicBezTo>
                <a:cubicBezTo>
                  <a:pt x="184" y="77"/>
                  <a:pt x="188" y="80"/>
                  <a:pt x="192" y="80"/>
                </a:cubicBezTo>
                <a:cubicBezTo>
                  <a:pt x="197" y="80"/>
                  <a:pt x="200" y="77"/>
                  <a:pt x="200" y="72"/>
                </a:cubicBezTo>
                <a:cubicBezTo>
                  <a:pt x="200" y="48"/>
                  <a:pt x="200" y="48"/>
                  <a:pt x="200" y="48"/>
                </a:cubicBezTo>
                <a:cubicBezTo>
                  <a:pt x="216" y="48"/>
                  <a:pt x="216" y="48"/>
                  <a:pt x="216" y="48"/>
                </a:cubicBezTo>
                <a:cubicBezTo>
                  <a:pt x="216" y="72"/>
                  <a:pt x="216" y="72"/>
                  <a:pt x="216" y="72"/>
                </a:cubicBezTo>
                <a:cubicBezTo>
                  <a:pt x="216" y="77"/>
                  <a:pt x="220" y="80"/>
                  <a:pt x="224" y="80"/>
                </a:cubicBezTo>
                <a:cubicBezTo>
                  <a:pt x="229" y="80"/>
                  <a:pt x="232" y="77"/>
                  <a:pt x="232" y="72"/>
                </a:cubicBezTo>
                <a:cubicBezTo>
                  <a:pt x="232" y="48"/>
                  <a:pt x="232" y="48"/>
                  <a:pt x="232" y="48"/>
                </a:cubicBezTo>
                <a:cubicBezTo>
                  <a:pt x="273" y="48"/>
                  <a:pt x="273" y="48"/>
                  <a:pt x="273" y="48"/>
                </a:cubicBezTo>
                <a:lnTo>
                  <a:pt x="273" y="337"/>
                </a:lnTo>
                <a:close/>
                <a:moveTo>
                  <a:pt x="40" y="185"/>
                </a:moveTo>
                <a:cubicBezTo>
                  <a:pt x="40" y="189"/>
                  <a:pt x="43" y="193"/>
                  <a:pt x="48" y="193"/>
                </a:cubicBezTo>
                <a:cubicBezTo>
                  <a:pt x="241" y="193"/>
                  <a:pt x="241" y="193"/>
                  <a:pt x="241" y="193"/>
                </a:cubicBezTo>
                <a:cubicBezTo>
                  <a:pt x="245" y="193"/>
                  <a:pt x="249" y="189"/>
                  <a:pt x="249" y="185"/>
                </a:cubicBezTo>
                <a:cubicBezTo>
                  <a:pt x="249" y="180"/>
                  <a:pt x="245" y="177"/>
                  <a:pt x="241" y="177"/>
                </a:cubicBezTo>
                <a:cubicBezTo>
                  <a:pt x="48" y="177"/>
                  <a:pt x="48" y="177"/>
                  <a:pt x="48" y="177"/>
                </a:cubicBezTo>
                <a:cubicBezTo>
                  <a:pt x="43" y="177"/>
                  <a:pt x="40" y="180"/>
                  <a:pt x="40" y="185"/>
                </a:cubicBezTo>
                <a:moveTo>
                  <a:pt x="192" y="225"/>
                </a:moveTo>
                <a:cubicBezTo>
                  <a:pt x="48" y="225"/>
                  <a:pt x="48" y="225"/>
                  <a:pt x="48" y="225"/>
                </a:cubicBezTo>
                <a:cubicBezTo>
                  <a:pt x="43" y="225"/>
                  <a:pt x="40" y="228"/>
                  <a:pt x="40" y="233"/>
                </a:cubicBezTo>
                <a:cubicBezTo>
                  <a:pt x="40" y="237"/>
                  <a:pt x="43" y="241"/>
                  <a:pt x="48" y="241"/>
                </a:cubicBezTo>
                <a:cubicBezTo>
                  <a:pt x="192" y="241"/>
                  <a:pt x="192" y="241"/>
                  <a:pt x="192" y="241"/>
                </a:cubicBezTo>
                <a:cubicBezTo>
                  <a:pt x="197" y="241"/>
                  <a:pt x="200" y="237"/>
                  <a:pt x="200" y="233"/>
                </a:cubicBezTo>
                <a:cubicBezTo>
                  <a:pt x="200" y="228"/>
                  <a:pt x="197" y="225"/>
                  <a:pt x="192" y="225"/>
                </a:cubicBezTo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>
              <a:solidFill>
                <a:srgbClr val="000000"/>
              </a:solidFill>
              <a:latin typeface="Calibri" panose="020F0502020204030204"/>
            </a:endParaRPr>
          </a:p>
        </p:txBody>
      </p:sp>
      <p:sp>
        <p:nvSpPr>
          <p:cNvPr id="12" name="Freeform 83"/>
          <p:cNvSpPr>
            <a:spLocks noEditPoints="1"/>
          </p:cNvSpPr>
          <p:nvPr/>
        </p:nvSpPr>
        <p:spPr bwMode="auto">
          <a:xfrm>
            <a:off x="4415607" y="2689340"/>
            <a:ext cx="312786" cy="312786"/>
          </a:xfrm>
          <a:custGeom>
            <a:avLst/>
            <a:gdLst>
              <a:gd name="T0" fmla="*/ 191 w 353"/>
              <a:gd name="T1" fmla="*/ 257 h 353"/>
              <a:gd name="T2" fmla="*/ 129 w 353"/>
              <a:gd name="T3" fmla="*/ 257 h 353"/>
              <a:gd name="T4" fmla="*/ 48 w 353"/>
              <a:gd name="T5" fmla="*/ 265 h 353"/>
              <a:gd name="T6" fmla="*/ 129 w 353"/>
              <a:gd name="T7" fmla="*/ 273 h 353"/>
              <a:gd name="T8" fmla="*/ 191 w 353"/>
              <a:gd name="T9" fmla="*/ 273 h 353"/>
              <a:gd name="T10" fmla="*/ 305 w 353"/>
              <a:gd name="T11" fmla="*/ 265 h 353"/>
              <a:gd name="T12" fmla="*/ 160 w 353"/>
              <a:gd name="T13" fmla="*/ 281 h 353"/>
              <a:gd name="T14" fmla="*/ 160 w 353"/>
              <a:gd name="T15" fmla="*/ 249 h 353"/>
              <a:gd name="T16" fmla="*/ 160 w 353"/>
              <a:gd name="T17" fmla="*/ 281 h 353"/>
              <a:gd name="T18" fmla="*/ 271 w 353"/>
              <a:gd name="T19" fmla="*/ 168 h 353"/>
              <a:gd name="T20" fmla="*/ 209 w 353"/>
              <a:gd name="T21" fmla="*/ 168 h 353"/>
              <a:gd name="T22" fmla="*/ 48 w 353"/>
              <a:gd name="T23" fmla="*/ 176 h 353"/>
              <a:gd name="T24" fmla="*/ 209 w 353"/>
              <a:gd name="T25" fmla="*/ 184 h 353"/>
              <a:gd name="T26" fmla="*/ 271 w 353"/>
              <a:gd name="T27" fmla="*/ 184 h 353"/>
              <a:gd name="T28" fmla="*/ 305 w 353"/>
              <a:gd name="T29" fmla="*/ 176 h 353"/>
              <a:gd name="T30" fmla="*/ 240 w 353"/>
              <a:gd name="T31" fmla="*/ 192 h 353"/>
              <a:gd name="T32" fmla="*/ 240 w 353"/>
              <a:gd name="T33" fmla="*/ 160 h 353"/>
              <a:gd name="T34" fmla="*/ 240 w 353"/>
              <a:gd name="T35" fmla="*/ 192 h 353"/>
              <a:gd name="T36" fmla="*/ 159 w 353"/>
              <a:gd name="T37" fmla="*/ 80 h 353"/>
              <a:gd name="T38" fmla="*/ 97 w 353"/>
              <a:gd name="T39" fmla="*/ 80 h 353"/>
              <a:gd name="T40" fmla="*/ 48 w 353"/>
              <a:gd name="T41" fmla="*/ 88 h 353"/>
              <a:gd name="T42" fmla="*/ 97 w 353"/>
              <a:gd name="T43" fmla="*/ 96 h 353"/>
              <a:gd name="T44" fmla="*/ 159 w 353"/>
              <a:gd name="T45" fmla="*/ 96 h 353"/>
              <a:gd name="T46" fmla="*/ 305 w 353"/>
              <a:gd name="T47" fmla="*/ 88 h 353"/>
              <a:gd name="T48" fmla="*/ 128 w 353"/>
              <a:gd name="T49" fmla="*/ 104 h 353"/>
              <a:gd name="T50" fmla="*/ 128 w 353"/>
              <a:gd name="T51" fmla="*/ 72 h 353"/>
              <a:gd name="T52" fmla="*/ 128 w 353"/>
              <a:gd name="T53" fmla="*/ 104 h 353"/>
              <a:gd name="T54" fmla="*/ 32 w 353"/>
              <a:gd name="T55" fmla="*/ 0 h 353"/>
              <a:gd name="T56" fmla="*/ 0 w 353"/>
              <a:gd name="T57" fmla="*/ 321 h 353"/>
              <a:gd name="T58" fmla="*/ 321 w 353"/>
              <a:gd name="T59" fmla="*/ 353 h 353"/>
              <a:gd name="T60" fmla="*/ 353 w 353"/>
              <a:gd name="T61" fmla="*/ 32 h 353"/>
              <a:gd name="T62" fmla="*/ 337 w 353"/>
              <a:gd name="T63" fmla="*/ 321 h 353"/>
              <a:gd name="T64" fmla="*/ 32 w 353"/>
              <a:gd name="T65" fmla="*/ 337 h 353"/>
              <a:gd name="T66" fmla="*/ 16 w 353"/>
              <a:gd name="T67" fmla="*/ 32 h 353"/>
              <a:gd name="T68" fmla="*/ 321 w 353"/>
              <a:gd name="T69" fmla="*/ 16 h 353"/>
              <a:gd name="T70" fmla="*/ 337 w 353"/>
              <a:gd name="T71" fmla="*/ 321 h 3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353" h="353">
                <a:moveTo>
                  <a:pt x="297" y="257"/>
                </a:moveTo>
                <a:cubicBezTo>
                  <a:pt x="191" y="257"/>
                  <a:pt x="191" y="257"/>
                  <a:pt x="191" y="257"/>
                </a:cubicBezTo>
                <a:cubicBezTo>
                  <a:pt x="188" y="243"/>
                  <a:pt x="175" y="233"/>
                  <a:pt x="160" y="233"/>
                </a:cubicBezTo>
                <a:cubicBezTo>
                  <a:pt x="145" y="233"/>
                  <a:pt x="133" y="243"/>
                  <a:pt x="129" y="257"/>
                </a:cubicBezTo>
                <a:cubicBezTo>
                  <a:pt x="56" y="257"/>
                  <a:pt x="56" y="257"/>
                  <a:pt x="56" y="257"/>
                </a:cubicBezTo>
                <a:cubicBezTo>
                  <a:pt x="51" y="257"/>
                  <a:pt x="48" y="260"/>
                  <a:pt x="48" y="265"/>
                </a:cubicBezTo>
                <a:cubicBezTo>
                  <a:pt x="48" y="269"/>
                  <a:pt x="51" y="273"/>
                  <a:pt x="56" y="273"/>
                </a:cubicBezTo>
                <a:cubicBezTo>
                  <a:pt x="129" y="273"/>
                  <a:pt x="129" y="273"/>
                  <a:pt x="129" y="273"/>
                </a:cubicBezTo>
                <a:cubicBezTo>
                  <a:pt x="133" y="287"/>
                  <a:pt x="145" y="297"/>
                  <a:pt x="160" y="297"/>
                </a:cubicBezTo>
                <a:cubicBezTo>
                  <a:pt x="175" y="297"/>
                  <a:pt x="188" y="287"/>
                  <a:pt x="191" y="273"/>
                </a:cubicBezTo>
                <a:cubicBezTo>
                  <a:pt x="297" y="273"/>
                  <a:pt x="297" y="273"/>
                  <a:pt x="297" y="273"/>
                </a:cubicBezTo>
                <a:cubicBezTo>
                  <a:pt x="301" y="273"/>
                  <a:pt x="305" y="269"/>
                  <a:pt x="305" y="265"/>
                </a:cubicBezTo>
                <a:cubicBezTo>
                  <a:pt x="305" y="260"/>
                  <a:pt x="301" y="257"/>
                  <a:pt x="297" y="257"/>
                </a:cubicBezTo>
                <a:moveTo>
                  <a:pt x="160" y="281"/>
                </a:moveTo>
                <a:cubicBezTo>
                  <a:pt x="151" y="281"/>
                  <a:pt x="144" y="274"/>
                  <a:pt x="144" y="265"/>
                </a:cubicBezTo>
                <a:cubicBezTo>
                  <a:pt x="144" y="256"/>
                  <a:pt x="151" y="249"/>
                  <a:pt x="160" y="249"/>
                </a:cubicBezTo>
                <a:cubicBezTo>
                  <a:pt x="169" y="249"/>
                  <a:pt x="176" y="256"/>
                  <a:pt x="176" y="265"/>
                </a:cubicBezTo>
                <a:cubicBezTo>
                  <a:pt x="176" y="274"/>
                  <a:pt x="169" y="281"/>
                  <a:pt x="160" y="281"/>
                </a:cubicBezTo>
                <a:moveTo>
                  <a:pt x="297" y="168"/>
                </a:moveTo>
                <a:cubicBezTo>
                  <a:pt x="271" y="168"/>
                  <a:pt x="271" y="168"/>
                  <a:pt x="271" y="168"/>
                </a:cubicBezTo>
                <a:cubicBezTo>
                  <a:pt x="268" y="155"/>
                  <a:pt x="255" y="144"/>
                  <a:pt x="240" y="144"/>
                </a:cubicBezTo>
                <a:cubicBezTo>
                  <a:pt x="225" y="144"/>
                  <a:pt x="213" y="155"/>
                  <a:pt x="209" y="168"/>
                </a:cubicBezTo>
                <a:cubicBezTo>
                  <a:pt x="56" y="168"/>
                  <a:pt x="56" y="168"/>
                  <a:pt x="56" y="168"/>
                </a:cubicBezTo>
                <a:cubicBezTo>
                  <a:pt x="51" y="168"/>
                  <a:pt x="48" y="172"/>
                  <a:pt x="48" y="176"/>
                </a:cubicBezTo>
                <a:cubicBezTo>
                  <a:pt x="48" y="181"/>
                  <a:pt x="51" y="184"/>
                  <a:pt x="56" y="184"/>
                </a:cubicBezTo>
                <a:cubicBezTo>
                  <a:pt x="209" y="184"/>
                  <a:pt x="209" y="184"/>
                  <a:pt x="209" y="184"/>
                </a:cubicBezTo>
                <a:cubicBezTo>
                  <a:pt x="213" y="198"/>
                  <a:pt x="225" y="208"/>
                  <a:pt x="240" y="208"/>
                </a:cubicBezTo>
                <a:cubicBezTo>
                  <a:pt x="255" y="208"/>
                  <a:pt x="268" y="198"/>
                  <a:pt x="271" y="184"/>
                </a:cubicBezTo>
                <a:cubicBezTo>
                  <a:pt x="297" y="184"/>
                  <a:pt x="297" y="184"/>
                  <a:pt x="297" y="184"/>
                </a:cubicBezTo>
                <a:cubicBezTo>
                  <a:pt x="301" y="184"/>
                  <a:pt x="305" y="181"/>
                  <a:pt x="305" y="176"/>
                </a:cubicBezTo>
                <a:cubicBezTo>
                  <a:pt x="305" y="172"/>
                  <a:pt x="301" y="168"/>
                  <a:pt x="297" y="168"/>
                </a:cubicBezTo>
                <a:moveTo>
                  <a:pt x="240" y="192"/>
                </a:moveTo>
                <a:cubicBezTo>
                  <a:pt x="232" y="192"/>
                  <a:pt x="224" y="185"/>
                  <a:pt x="224" y="176"/>
                </a:cubicBezTo>
                <a:cubicBezTo>
                  <a:pt x="224" y="168"/>
                  <a:pt x="232" y="160"/>
                  <a:pt x="240" y="160"/>
                </a:cubicBezTo>
                <a:cubicBezTo>
                  <a:pt x="249" y="160"/>
                  <a:pt x="256" y="168"/>
                  <a:pt x="256" y="176"/>
                </a:cubicBezTo>
                <a:cubicBezTo>
                  <a:pt x="256" y="185"/>
                  <a:pt x="249" y="192"/>
                  <a:pt x="240" y="192"/>
                </a:cubicBezTo>
                <a:moveTo>
                  <a:pt x="297" y="80"/>
                </a:moveTo>
                <a:cubicBezTo>
                  <a:pt x="159" y="80"/>
                  <a:pt x="159" y="80"/>
                  <a:pt x="159" y="80"/>
                </a:cubicBezTo>
                <a:cubicBezTo>
                  <a:pt x="155" y="66"/>
                  <a:pt x="143" y="56"/>
                  <a:pt x="128" y="56"/>
                </a:cubicBezTo>
                <a:cubicBezTo>
                  <a:pt x="113" y="56"/>
                  <a:pt x="101" y="66"/>
                  <a:pt x="97" y="80"/>
                </a:cubicBezTo>
                <a:cubicBezTo>
                  <a:pt x="56" y="80"/>
                  <a:pt x="56" y="80"/>
                  <a:pt x="56" y="80"/>
                </a:cubicBezTo>
                <a:cubicBezTo>
                  <a:pt x="51" y="80"/>
                  <a:pt x="48" y="84"/>
                  <a:pt x="48" y="88"/>
                </a:cubicBezTo>
                <a:cubicBezTo>
                  <a:pt x="48" y="93"/>
                  <a:pt x="51" y="96"/>
                  <a:pt x="56" y="96"/>
                </a:cubicBezTo>
                <a:cubicBezTo>
                  <a:pt x="97" y="96"/>
                  <a:pt x="97" y="96"/>
                  <a:pt x="97" y="96"/>
                </a:cubicBezTo>
                <a:cubicBezTo>
                  <a:pt x="101" y="110"/>
                  <a:pt x="113" y="120"/>
                  <a:pt x="128" y="120"/>
                </a:cubicBezTo>
                <a:cubicBezTo>
                  <a:pt x="143" y="120"/>
                  <a:pt x="155" y="110"/>
                  <a:pt x="159" y="96"/>
                </a:cubicBezTo>
                <a:cubicBezTo>
                  <a:pt x="297" y="96"/>
                  <a:pt x="297" y="96"/>
                  <a:pt x="297" y="96"/>
                </a:cubicBezTo>
                <a:cubicBezTo>
                  <a:pt x="301" y="96"/>
                  <a:pt x="305" y="93"/>
                  <a:pt x="305" y="88"/>
                </a:cubicBezTo>
                <a:cubicBezTo>
                  <a:pt x="305" y="84"/>
                  <a:pt x="301" y="80"/>
                  <a:pt x="297" y="80"/>
                </a:cubicBezTo>
                <a:moveTo>
                  <a:pt x="128" y="104"/>
                </a:moveTo>
                <a:cubicBezTo>
                  <a:pt x="119" y="104"/>
                  <a:pt x="112" y="97"/>
                  <a:pt x="112" y="88"/>
                </a:cubicBezTo>
                <a:cubicBezTo>
                  <a:pt x="112" y="79"/>
                  <a:pt x="119" y="72"/>
                  <a:pt x="128" y="72"/>
                </a:cubicBezTo>
                <a:cubicBezTo>
                  <a:pt x="137" y="72"/>
                  <a:pt x="144" y="79"/>
                  <a:pt x="144" y="88"/>
                </a:cubicBezTo>
                <a:cubicBezTo>
                  <a:pt x="144" y="97"/>
                  <a:pt x="137" y="104"/>
                  <a:pt x="128" y="104"/>
                </a:cubicBezTo>
                <a:moveTo>
                  <a:pt x="321" y="0"/>
                </a:moveTo>
                <a:cubicBezTo>
                  <a:pt x="32" y="0"/>
                  <a:pt x="32" y="0"/>
                  <a:pt x="32" y="0"/>
                </a:cubicBezTo>
                <a:cubicBezTo>
                  <a:pt x="14" y="0"/>
                  <a:pt x="0" y="14"/>
                  <a:pt x="0" y="32"/>
                </a:cubicBezTo>
                <a:cubicBezTo>
                  <a:pt x="0" y="321"/>
                  <a:pt x="0" y="321"/>
                  <a:pt x="0" y="321"/>
                </a:cubicBezTo>
                <a:cubicBezTo>
                  <a:pt x="0" y="339"/>
                  <a:pt x="14" y="353"/>
                  <a:pt x="32" y="353"/>
                </a:cubicBezTo>
                <a:cubicBezTo>
                  <a:pt x="321" y="353"/>
                  <a:pt x="321" y="353"/>
                  <a:pt x="321" y="353"/>
                </a:cubicBezTo>
                <a:cubicBezTo>
                  <a:pt x="338" y="353"/>
                  <a:pt x="353" y="339"/>
                  <a:pt x="353" y="321"/>
                </a:cubicBezTo>
                <a:cubicBezTo>
                  <a:pt x="353" y="32"/>
                  <a:pt x="353" y="32"/>
                  <a:pt x="353" y="32"/>
                </a:cubicBezTo>
                <a:cubicBezTo>
                  <a:pt x="353" y="14"/>
                  <a:pt x="338" y="0"/>
                  <a:pt x="321" y="0"/>
                </a:cubicBezTo>
                <a:moveTo>
                  <a:pt x="337" y="321"/>
                </a:moveTo>
                <a:cubicBezTo>
                  <a:pt x="337" y="330"/>
                  <a:pt x="330" y="337"/>
                  <a:pt x="321" y="337"/>
                </a:cubicBezTo>
                <a:cubicBezTo>
                  <a:pt x="32" y="337"/>
                  <a:pt x="32" y="337"/>
                  <a:pt x="32" y="337"/>
                </a:cubicBezTo>
                <a:cubicBezTo>
                  <a:pt x="23" y="337"/>
                  <a:pt x="16" y="330"/>
                  <a:pt x="16" y="321"/>
                </a:cubicBezTo>
                <a:cubicBezTo>
                  <a:pt x="16" y="32"/>
                  <a:pt x="16" y="32"/>
                  <a:pt x="16" y="32"/>
                </a:cubicBezTo>
                <a:cubicBezTo>
                  <a:pt x="16" y="23"/>
                  <a:pt x="23" y="16"/>
                  <a:pt x="32" y="16"/>
                </a:cubicBezTo>
                <a:cubicBezTo>
                  <a:pt x="321" y="16"/>
                  <a:pt x="321" y="16"/>
                  <a:pt x="321" y="16"/>
                </a:cubicBezTo>
                <a:cubicBezTo>
                  <a:pt x="330" y="16"/>
                  <a:pt x="337" y="23"/>
                  <a:pt x="337" y="32"/>
                </a:cubicBezTo>
                <a:lnTo>
                  <a:pt x="337" y="321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3" name="Freeform 24"/>
          <p:cNvSpPr>
            <a:spLocks noEditPoints="1"/>
          </p:cNvSpPr>
          <p:nvPr/>
        </p:nvSpPr>
        <p:spPr bwMode="auto">
          <a:xfrm>
            <a:off x="1558179" y="2689341"/>
            <a:ext cx="315086" cy="316237"/>
          </a:xfrm>
          <a:custGeom>
            <a:avLst/>
            <a:gdLst>
              <a:gd name="T0" fmla="*/ 193 w 353"/>
              <a:gd name="T1" fmla="*/ 96 h 353"/>
              <a:gd name="T2" fmla="*/ 225 w 353"/>
              <a:gd name="T3" fmla="*/ 32 h 353"/>
              <a:gd name="T4" fmla="*/ 160 w 353"/>
              <a:gd name="T5" fmla="*/ 0 h 353"/>
              <a:gd name="T6" fmla="*/ 128 w 353"/>
              <a:gd name="T7" fmla="*/ 64 h 353"/>
              <a:gd name="T8" fmla="*/ 144 w 353"/>
              <a:gd name="T9" fmla="*/ 32 h 353"/>
              <a:gd name="T10" fmla="*/ 193 w 353"/>
              <a:gd name="T11" fmla="*/ 16 h 353"/>
              <a:gd name="T12" fmla="*/ 209 w 353"/>
              <a:gd name="T13" fmla="*/ 64 h 353"/>
              <a:gd name="T14" fmla="*/ 160 w 353"/>
              <a:gd name="T15" fmla="*/ 80 h 353"/>
              <a:gd name="T16" fmla="*/ 144 w 353"/>
              <a:gd name="T17" fmla="*/ 32 h 353"/>
              <a:gd name="T18" fmla="*/ 56 w 353"/>
              <a:gd name="T19" fmla="*/ 233 h 353"/>
              <a:gd name="T20" fmla="*/ 168 w 353"/>
              <a:gd name="T21" fmla="*/ 176 h 353"/>
              <a:gd name="T22" fmla="*/ 176 w 353"/>
              <a:gd name="T23" fmla="*/ 241 h 353"/>
              <a:gd name="T24" fmla="*/ 185 w 353"/>
              <a:gd name="T25" fmla="*/ 176 h 353"/>
              <a:gd name="T26" fmla="*/ 297 w 353"/>
              <a:gd name="T27" fmla="*/ 233 h 353"/>
              <a:gd name="T28" fmla="*/ 313 w 353"/>
              <a:gd name="T29" fmla="*/ 233 h 353"/>
              <a:gd name="T30" fmla="*/ 305 w 353"/>
              <a:gd name="T31" fmla="*/ 160 h 353"/>
              <a:gd name="T32" fmla="*/ 185 w 353"/>
              <a:gd name="T33" fmla="*/ 120 h 353"/>
              <a:gd name="T34" fmla="*/ 168 w 353"/>
              <a:gd name="T35" fmla="*/ 120 h 353"/>
              <a:gd name="T36" fmla="*/ 48 w 353"/>
              <a:gd name="T37" fmla="*/ 160 h 353"/>
              <a:gd name="T38" fmla="*/ 40 w 353"/>
              <a:gd name="T39" fmla="*/ 233 h 353"/>
              <a:gd name="T40" fmla="*/ 64 w 353"/>
              <a:gd name="T41" fmla="*/ 257 h 353"/>
              <a:gd name="T42" fmla="*/ 0 w 353"/>
              <a:gd name="T43" fmla="*/ 289 h 353"/>
              <a:gd name="T44" fmla="*/ 32 w 353"/>
              <a:gd name="T45" fmla="*/ 353 h 353"/>
              <a:gd name="T46" fmla="*/ 96 w 353"/>
              <a:gd name="T47" fmla="*/ 321 h 353"/>
              <a:gd name="T48" fmla="*/ 64 w 353"/>
              <a:gd name="T49" fmla="*/ 257 h 353"/>
              <a:gd name="T50" fmla="*/ 64 w 353"/>
              <a:gd name="T51" fmla="*/ 337 h 353"/>
              <a:gd name="T52" fmla="*/ 16 w 353"/>
              <a:gd name="T53" fmla="*/ 321 h 353"/>
              <a:gd name="T54" fmla="*/ 32 w 353"/>
              <a:gd name="T55" fmla="*/ 273 h 353"/>
              <a:gd name="T56" fmla="*/ 80 w 353"/>
              <a:gd name="T57" fmla="*/ 289 h 353"/>
              <a:gd name="T58" fmla="*/ 321 w 353"/>
              <a:gd name="T59" fmla="*/ 257 h 353"/>
              <a:gd name="T60" fmla="*/ 257 w 353"/>
              <a:gd name="T61" fmla="*/ 289 h 353"/>
              <a:gd name="T62" fmla="*/ 289 w 353"/>
              <a:gd name="T63" fmla="*/ 353 h 353"/>
              <a:gd name="T64" fmla="*/ 353 w 353"/>
              <a:gd name="T65" fmla="*/ 321 h 353"/>
              <a:gd name="T66" fmla="*/ 321 w 353"/>
              <a:gd name="T67" fmla="*/ 257 h 353"/>
              <a:gd name="T68" fmla="*/ 321 w 353"/>
              <a:gd name="T69" fmla="*/ 337 h 353"/>
              <a:gd name="T70" fmla="*/ 273 w 353"/>
              <a:gd name="T71" fmla="*/ 321 h 353"/>
              <a:gd name="T72" fmla="*/ 289 w 353"/>
              <a:gd name="T73" fmla="*/ 273 h 353"/>
              <a:gd name="T74" fmla="*/ 337 w 353"/>
              <a:gd name="T75" fmla="*/ 289 h 353"/>
              <a:gd name="T76" fmla="*/ 193 w 353"/>
              <a:gd name="T77" fmla="*/ 257 h 353"/>
              <a:gd name="T78" fmla="*/ 128 w 353"/>
              <a:gd name="T79" fmla="*/ 289 h 353"/>
              <a:gd name="T80" fmla="*/ 160 w 353"/>
              <a:gd name="T81" fmla="*/ 353 h 353"/>
              <a:gd name="T82" fmla="*/ 225 w 353"/>
              <a:gd name="T83" fmla="*/ 321 h 353"/>
              <a:gd name="T84" fmla="*/ 193 w 353"/>
              <a:gd name="T85" fmla="*/ 257 h 353"/>
              <a:gd name="T86" fmla="*/ 193 w 353"/>
              <a:gd name="T87" fmla="*/ 337 h 353"/>
              <a:gd name="T88" fmla="*/ 144 w 353"/>
              <a:gd name="T89" fmla="*/ 321 h 353"/>
              <a:gd name="T90" fmla="*/ 160 w 353"/>
              <a:gd name="T91" fmla="*/ 273 h 353"/>
              <a:gd name="T92" fmla="*/ 209 w 353"/>
              <a:gd name="T93" fmla="*/ 289 h 3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353" h="353">
                <a:moveTo>
                  <a:pt x="160" y="96"/>
                </a:moveTo>
                <a:cubicBezTo>
                  <a:pt x="193" y="96"/>
                  <a:pt x="193" y="96"/>
                  <a:pt x="193" y="96"/>
                </a:cubicBezTo>
                <a:cubicBezTo>
                  <a:pt x="210" y="96"/>
                  <a:pt x="225" y="82"/>
                  <a:pt x="225" y="64"/>
                </a:cubicBezTo>
                <a:cubicBezTo>
                  <a:pt x="225" y="32"/>
                  <a:pt x="225" y="32"/>
                  <a:pt x="225" y="32"/>
                </a:cubicBezTo>
                <a:cubicBezTo>
                  <a:pt x="225" y="14"/>
                  <a:pt x="210" y="0"/>
                  <a:pt x="193" y="0"/>
                </a:cubicBezTo>
                <a:cubicBezTo>
                  <a:pt x="160" y="0"/>
                  <a:pt x="160" y="0"/>
                  <a:pt x="160" y="0"/>
                </a:cubicBezTo>
                <a:cubicBezTo>
                  <a:pt x="143" y="0"/>
                  <a:pt x="128" y="14"/>
                  <a:pt x="128" y="32"/>
                </a:cubicBezTo>
                <a:cubicBezTo>
                  <a:pt x="128" y="64"/>
                  <a:pt x="128" y="64"/>
                  <a:pt x="128" y="64"/>
                </a:cubicBezTo>
                <a:cubicBezTo>
                  <a:pt x="128" y="82"/>
                  <a:pt x="143" y="96"/>
                  <a:pt x="160" y="96"/>
                </a:cubicBezTo>
                <a:moveTo>
                  <a:pt x="144" y="32"/>
                </a:moveTo>
                <a:cubicBezTo>
                  <a:pt x="144" y="23"/>
                  <a:pt x="152" y="16"/>
                  <a:pt x="160" y="16"/>
                </a:cubicBezTo>
                <a:cubicBezTo>
                  <a:pt x="193" y="16"/>
                  <a:pt x="193" y="16"/>
                  <a:pt x="193" y="16"/>
                </a:cubicBezTo>
                <a:cubicBezTo>
                  <a:pt x="201" y="16"/>
                  <a:pt x="209" y="23"/>
                  <a:pt x="209" y="32"/>
                </a:cubicBezTo>
                <a:cubicBezTo>
                  <a:pt x="209" y="64"/>
                  <a:pt x="209" y="64"/>
                  <a:pt x="209" y="64"/>
                </a:cubicBezTo>
                <a:cubicBezTo>
                  <a:pt x="209" y="73"/>
                  <a:pt x="201" y="80"/>
                  <a:pt x="193" y="80"/>
                </a:cubicBezTo>
                <a:cubicBezTo>
                  <a:pt x="160" y="80"/>
                  <a:pt x="160" y="80"/>
                  <a:pt x="160" y="80"/>
                </a:cubicBezTo>
                <a:cubicBezTo>
                  <a:pt x="152" y="80"/>
                  <a:pt x="144" y="73"/>
                  <a:pt x="144" y="64"/>
                </a:cubicBezTo>
                <a:lnTo>
                  <a:pt x="144" y="32"/>
                </a:lnTo>
                <a:close/>
                <a:moveTo>
                  <a:pt x="48" y="241"/>
                </a:moveTo>
                <a:cubicBezTo>
                  <a:pt x="52" y="241"/>
                  <a:pt x="56" y="237"/>
                  <a:pt x="56" y="233"/>
                </a:cubicBezTo>
                <a:cubicBezTo>
                  <a:pt x="56" y="176"/>
                  <a:pt x="56" y="176"/>
                  <a:pt x="56" y="176"/>
                </a:cubicBezTo>
                <a:cubicBezTo>
                  <a:pt x="168" y="176"/>
                  <a:pt x="168" y="176"/>
                  <a:pt x="168" y="176"/>
                </a:cubicBezTo>
                <a:cubicBezTo>
                  <a:pt x="168" y="233"/>
                  <a:pt x="168" y="233"/>
                  <a:pt x="168" y="233"/>
                </a:cubicBezTo>
                <a:cubicBezTo>
                  <a:pt x="168" y="237"/>
                  <a:pt x="172" y="241"/>
                  <a:pt x="176" y="241"/>
                </a:cubicBezTo>
                <a:cubicBezTo>
                  <a:pt x="181" y="241"/>
                  <a:pt x="185" y="237"/>
                  <a:pt x="185" y="233"/>
                </a:cubicBezTo>
                <a:cubicBezTo>
                  <a:pt x="185" y="176"/>
                  <a:pt x="185" y="176"/>
                  <a:pt x="185" y="176"/>
                </a:cubicBezTo>
                <a:cubicBezTo>
                  <a:pt x="297" y="176"/>
                  <a:pt x="297" y="176"/>
                  <a:pt x="297" y="176"/>
                </a:cubicBezTo>
                <a:cubicBezTo>
                  <a:pt x="297" y="233"/>
                  <a:pt x="297" y="233"/>
                  <a:pt x="297" y="233"/>
                </a:cubicBezTo>
                <a:cubicBezTo>
                  <a:pt x="297" y="237"/>
                  <a:pt x="301" y="241"/>
                  <a:pt x="305" y="241"/>
                </a:cubicBezTo>
                <a:cubicBezTo>
                  <a:pt x="309" y="241"/>
                  <a:pt x="313" y="237"/>
                  <a:pt x="313" y="233"/>
                </a:cubicBezTo>
                <a:cubicBezTo>
                  <a:pt x="313" y="168"/>
                  <a:pt x="313" y="168"/>
                  <a:pt x="313" y="168"/>
                </a:cubicBezTo>
                <a:cubicBezTo>
                  <a:pt x="313" y="164"/>
                  <a:pt x="309" y="160"/>
                  <a:pt x="305" y="160"/>
                </a:cubicBezTo>
                <a:cubicBezTo>
                  <a:pt x="185" y="160"/>
                  <a:pt x="185" y="160"/>
                  <a:pt x="185" y="160"/>
                </a:cubicBezTo>
                <a:cubicBezTo>
                  <a:pt x="185" y="120"/>
                  <a:pt x="185" y="120"/>
                  <a:pt x="185" y="120"/>
                </a:cubicBezTo>
                <a:cubicBezTo>
                  <a:pt x="185" y="116"/>
                  <a:pt x="181" y="112"/>
                  <a:pt x="176" y="112"/>
                </a:cubicBezTo>
                <a:cubicBezTo>
                  <a:pt x="172" y="112"/>
                  <a:pt x="168" y="116"/>
                  <a:pt x="168" y="120"/>
                </a:cubicBezTo>
                <a:cubicBezTo>
                  <a:pt x="168" y="160"/>
                  <a:pt x="168" y="160"/>
                  <a:pt x="168" y="160"/>
                </a:cubicBezTo>
                <a:cubicBezTo>
                  <a:pt x="48" y="160"/>
                  <a:pt x="48" y="160"/>
                  <a:pt x="48" y="160"/>
                </a:cubicBezTo>
                <a:cubicBezTo>
                  <a:pt x="44" y="160"/>
                  <a:pt x="40" y="164"/>
                  <a:pt x="40" y="168"/>
                </a:cubicBezTo>
                <a:cubicBezTo>
                  <a:pt x="40" y="233"/>
                  <a:pt x="40" y="233"/>
                  <a:pt x="40" y="233"/>
                </a:cubicBezTo>
                <a:cubicBezTo>
                  <a:pt x="40" y="237"/>
                  <a:pt x="44" y="241"/>
                  <a:pt x="48" y="241"/>
                </a:cubicBezTo>
                <a:moveTo>
                  <a:pt x="64" y="257"/>
                </a:moveTo>
                <a:cubicBezTo>
                  <a:pt x="32" y="257"/>
                  <a:pt x="32" y="257"/>
                  <a:pt x="32" y="257"/>
                </a:cubicBezTo>
                <a:cubicBezTo>
                  <a:pt x="14" y="257"/>
                  <a:pt x="0" y="271"/>
                  <a:pt x="0" y="289"/>
                </a:cubicBezTo>
                <a:cubicBezTo>
                  <a:pt x="0" y="321"/>
                  <a:pt x="0" y="321"/>
                  <a:pt x="0" y="321"/>
                </a:cubicBezTo>
                <a:cubicBezTo>
                  <a:pt x="0" y="339"/>
                  <a:pt x="14" y="353"/>
                  <a:pt x="32" y="353"/>
                </a:cubicBezTo>
                <a:cubicBezTo>
                  <a:pt x="64" y="353"/>
                  <a:pt x="64" y="353"/>
                  <a:pt x="64" y="353"/>
                </a:cubicBezTo>
                <a:cubicBezTo>
                  <a:pt x="82" y="353"/>
                  <a:pt x="96" y="339"/>
                  <a:pt x="96" y="321"/>
                </a:cubicBezTo>
                <a:cubicBezTo>
                  <a:pt x="96" y="289"/>
                  <a:pt x="96" y="289"/>
                  <a:pt x="96" y="289"/>
                </a:cubicBezTo>
                <a:cubicBezTo>
                  <a:pt x="96" y="271"/>
                  <a:pt x="82" y="257"/>
                  <a:pt x="64" y="257"/>
                </a:cubicBezTo>
                <a:moveTo>
                  <a:pt x="80" y="321"/>
                </a:moveTo>
                <a:cubicBezTo>
                  <a:pt x="80" y="330"/>
                  <a:pt x="73" y="337"/>
                  <a:pt x="64" y="337"/>
                </a:cubicBezTo>
                <a:cubicBezTo>
                  <a:pt x="32" y="337"/>
                  <a:pt x="32" y="337"/>
                  <a:pt x="32" y="337"/>
                </a:cubicBezTo>
                <a:cubicBezTo>
                  <a:pt x="23" y="337"/>
                  <a:pt x="16" y="330"/>
                  <a:pt x="16" y="321"/>
                </a:cubicBezTo>
                <a:cubicBezTo>
                  <a:pt x="16" y="289"/>
                  <a:pt x="16" y="289"/>
                  <a:pt x="16" y="289"/>
                </a:cubicBezTo>
                <a:cubicBezTo>
                  <a:pt x="16" y="280"/>
                  <a:pt x="23" y="273"/>
                  <a:pt x="32" y="273"/>
                </a:cubicBezTo>
                <a:cubicBezTo>
                  <a:pt x="64" y="273"/>
                  <a:pt x="64" y="273"/>
                  <a:pt x="64" y="273"/>
                </a:cubicBezTo>
                <a:cubicBezTo>
                  <a:pt x="73" y="273"/>
                  <a:pt x="80" y="280"/>
                  <a:pt x="80" y="289"/>
                </a:cubicBezTo>
                <a:lnTo>
                  <a:pt x="80" y="321"/>
                </a:lnTo>
                <a:close/>
                <a:moveTo>
                  <a:pt x="321" y="257"/>
                </a:moveTo>
                <a:cubicBezTo>
                  <a:pt x="289" y="257"/>
                  <a:pt x="289" y="257"/>
                  <a:pt x="289" y="257"/>
                </a:cubicBezTo>
                <a:cubicBezTo>
                  <a:pt x="271" y="257"/>
                  <a:pt x="257" y="271"/>
                  <a:pt x="257" y="289"/>
                </a:cubicBezTo>
                <a:cubicBezTo>
                  <a:pt x="257" y="321"/>
                  <a:pt x="257" y="321"/>
                  <a:pt x="257" y="321"/>
                </a:cubicBezTo>
                <a:cubicBezTo>
                  <a:pt x="257" y="339"/>
                  <a:pt x="271" y="353"/>
                  <a:pt x="289" y="353"/>
                </a:cubicBezTo>
                <a:cubicBezTo>
                  <a:pt x="321" y="353"/>
                  <a:pt x="321" y="353"/>
                  <a:pt x="321" y="353"/>
                </a:cubicBezTo>
                <a:cubicBezTo>
                  <a:pt x="339" y="353"/>
                  <a:pt x="353" y="339"/>
                  <a:pt x="353" y="321"/>
                </a:cubicBezTo>
                <a:cubicBezTo>
                  <a:pt x="353" y="289"/>
                  <a:pt x="353" y="289"/>
                  <a:pt x="353" y="289"/>
                </a:cubicBezTo>
                <a:cubicBezTo>
                  <a:pt x="353" y="271"/>
                  <a:pt x="339" y="257"/>
                  <a:pt x="321" y="257"/>
                </a:cubicBezTo>
                <a:moveTo>
                  <a:pt x="337" y="321"/>
                </a:moveTo>
                <a:cubicBezTo>
                  <a:pt x="337" y="330"/>
                  <a:pt x="330" y="337"/>
                  <a:pt x="321" y="337"/>
                </a:cubicBezTo>
                <a:cubicBezTo>
                  <a:pt x="289" y="337"/>
                  <a:pt x="289" y="337"/>
                  <a:pt x="289" y="337"/>
                </a:cubicBezTo>
                <a:cubicBezTo>
                  <a:pt x="280" y="337"/>
                  <a:pt x="273" y="330"/>
                  <a:pt x="273" y="321"/>
                </a:cubicBezTo>
                <a:cubicBezTo>
                  <a:pt x="273" y="289"/>
                  <a:pt x="273" y="289"/>
                  <a:pt x="273" y="289"/>
                </a:cubicBezTo>
                <a:cubicBezTo>
                  <a:pt x="273" y="280"/>
                  <a:pt x="280" y="273"/>
                  <a:pt x="289" y="273"/>
                </a:cubicBezTo>
                <a:cubicBezTo>
                  <a:pt x="321" y="273"/>
                  <a:pt x="321" y="273"/>
                  <a:pt x="321" y="273"/>
                </a:cubicBezTo>
                <a:cubicBezTo>
                  <a:pt x="330" y="273"/>
                  <a:pt x="337" y="280"/>
                  <a:pt x="337" y="289"/>
                </a:cubicBezTo>
                <a:lnTo>
                  <a:pt x="337" y="321"/>
                </a:lnTo>
                <a:close/>
                <a:moveTo>
                  <a:pt x="193" y="257"/>
                </a:moveTo>
                <a:cubicBezTo>
                  <a:pt x="160" y="257"/>
                  <a:pt x="160" y="257"/>
                  <a:pt x="160" y="257"/>
                </a:cubicBezTo>
                <a:cubicBezTo>
                  <a:pt x="143" y="257"/>
                  <a:pt x="128" y="271"/>
                  <a:pt x="128" y="289"/>
                </a:cubicBezTo>
                <a:cubicBezTo>
                  <a:pt x="128" y="321"/>
                  <a:pt x="128" y="321"/>
                  <a:pt x="128" y="321"/>
                </a:cubicBezTo>
                <a:cubicBezTo>
                  <a:pt x="128" y="339"/>
                  <a:pt x="143" y="353"/>
                  <a:pt x="160" y="353"/>
                </a:cubicBezTo>
                <a:cubicBezTo>
                  <a:pt x="193" y="353"/>
                  <a:pt x="193" y="353"/>
                  <a:pt x="193" y="353"/>
                </a:cubicBezTo>
                <a:cubicBezTo>
                  <a:pt x="210" y="353"/>
                  <a:pt x="225" y="339"/>
                  <a:pt x="225" y="321"/>
                </a:cubicBezTo>
                <a:cubicBezTo>
                  <a:pt x="225" y="289"/>
                  <a:pt x="225" y="289"/>
                  <a:pt x="225" y="289"/>
                </a:cubicBezTo>
                <a:cubicBezTo>
                  <a:pt x="225" y="271"/>
                  <a:pt x="210" y="257"/>
                  <a:pt x="193" y="257"/>
                </a:cubicBezTo>
                <a:moveTo>
                  <a:pt x="209" y="321"/>
                </a:moveTo>
                <a:cubicBezTo>
                  <a:pt x="209" y="330"/>
                  <a:pt x="201" y="337"/>
                  <a:pt x="193" y="337"/>
                </a:cubicBezTo>
                <a:cubicBezTo>
                  <a:pt x="160" y="337"/>
                  <a:pt x="160" y="337"/>
                  <a:pt x="160" y="337"/>
                </a:cubicBezTo>
                <a:cubicBezTo>
                  <a:pt x="152" y="337"/>
                  <a:pt x="144" y="330"/>
                  <a:pt x="144" y="321"/>
                </a:cubicBezTo>
                <a:cubicBezTo>
                  <a:pt x="144" y="289"/>
                  <a:pt x="144" y="289"/>
                  <a:pt x="144" y="289"/>
                </a:cubicBezTo>
                <a:cubicBezTo>
                  <a:pt x="144" y="280"/>
                  <a:pt x="152" y="273"/>
                  <a:pt x="160" y="273"/>
                </a:cubicBezTo>
                <a:cubicBezTo>
                  <a:pt x="193" y="273"/>
                  <a:pt x="193" y="273"/>
                  <a:pt x="193" y="273"/>
                </a:cubicBezTo>
                <a:cubicBezTo>
                  <a:pt x="201" y="273"/>
                  <a:pt x="209" y="280"/>
                  <a:pt x="209" y="289"/>
                </a:cubicBezTo>
                <a:lnTo>
                  <a:pt x="209" y="321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4" name="Freeform 13"/>
          <p:cNvSpPr>
            <a:spLocks noEditPoints="1"/>
          </p:cNvSpPr>
          <p:nvPr/>
        </p:nvSpPr>
        <p:spPr bwMode="auto">
          <a:xfrm>
            <a:off x="2986893" y="1944645"/>
            <a:ext cx="313936" cy="313936"/>
          </a:xfrm>
          <a:custGeom>
            <a:avLst/>
            <a:gdLst>
              <a:gd name="T0" fmla="*/ 351 w 353"/>
              <a:gd name="T1" fmla="*/ 340 h 353"/>
              <a:gd name="T2" fmla="*/ 266 w 353"/>
              <a:gd name="T3" fmla="*/ 255 h 353"/>
              <a:gd name="T4" fmla="*/ 305 w 353"/>
              <a:gd name="T5" fmla="*/ 153 h 353"/>
              <a:gd name="T6" fmla="*/ 152 w 353"/>
              <a:gd name="T7" fmla="*/ 0 h 353"/>
              <a:gd name="T8" fmla="*/ 0 w 353"/>
              <a:gd name="T9" fmla="*/ 153 h 353"/>
              <a:gd name="T10" fmla="*/ 152 w 353"/>
              <a:gd name="T11" fmla="*/ 305 h 353"/>
              <a:gd name="T12" fmla="*/ 254 w 353"/>
              <a:gd name="T13" fmla="*/ 266 h 353"/>
              <a:gd name="T14" fmla="*/ 339 w 353"/>
              <a:gd name="T15" fmla="*/ 351 h 353"/>
              <a:gd name="T16" fmla="*/ 345 w 353"/>
              <a:gd name="T17" fmla="*/ 353 h 353"/>
              <a:gd name="T18" fmla="*/ 353 w 353"/>
              <a:gd name="T19" fmla="*/ 345 h 353"/>
              <a:gd name="T20" fmla="*/ 351 w 353"/>
              <a:gd name="T21" fmla="*/ 340 h 353"/>
              <a:gd name="T22" fmla="*/ 152 w 353"/>
              <a:gd name="T23" fmla="*/ 289 h 353"/>
              <a:gd name="T24" fmla="*/ 16 w 353"/>
              <a:gd name="T25" fmla="*/ 153 h 353"/>
              <a:gd name="T26" fmla="*/ 152 w 353"/>
              <a:gd name="T27" fmla="*/ 16 h 353"/>
              <a:gd name="T28" fmla="*/ 289 w 353"/>
              <a:gd name="T29" fmla="*/ 153 h 353"/>
              <a:gd name="T30" fmla="*/ 152 w 353"/>
              <a:gd name="T31" fmla="*/ 289 h 3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353" h="353">
                <a:moveTo>
                  <a:pt x="351" y="340"/>
                </a:moveTo>
                <a:cubicBezTo>
                  <a:pt x="266" y="255"/>
                  <a:pt x="266" y="255"/>
                  <a:pt x="266" y="255"/>
                </a:cubicBezTo>
                <a:cubicBezTo>
                  <a:pt x="290" y="228"/>
                  <a:pt x="305" y="192"/>
                  <a:pt x="305" y="153"/>
                </a:cubicBezTo>
                <a:cubicBezTo>
                  <a:pt x="305" y="68"/>
                  <a:pt x="237" y="0"/>
                  <a:pt x="152" y="0"/>
                </a:cubicBezTo>
                <a:cubicBezTo>
                  <a:pt x="68" y="0"/>
                  <a:pt x="0" y="68"/>
                  <a:pt x="0" y="153"/>
                </a:cubicBezTo>
                <a:cubicBezTo>
                  <a:pt x="0" y="237"/>
                  <a:pt x="68" y="305"/>
                  <a:pt x="152" y="305"/>
                </a:cubicBezTo>
                <a:cubicBezTo>
                  <a:pt x="192" y="305"/>
                  <a:pt x="227" y="290"/>
                  <a:pt x="254" y="266"/>
                </a:cubicBezTo>
                <a:cubicBezTo>
                  <a:pt x="339" y="351"/>
                  <a:pt x="339" y="351"/>
                  <a:pt x="339" y="351"/>
                </a:cubicBezTo>
                <a:cubicBezTo>
                  <a:pt x="341" y="352"/>
                  <a:pt x="343" y="353"/>
                  <a:pt x="345" y="353"/>
                </a:cubicBezTo>
                <a:cubicBezTo>
                  <a:pt x="350" y="353"/>
                  <a:pt x="353" y="350"/>
                  <a:pt x="353" y="345"/>
                </a:cubicBezTo>
                <a:cubicBezTo>
                  <a:pt x="353" y="343"/>
                  <a:pt x="352" y="341"/>
                  <a:pt x="351" y="340"/>
                </a:cubicBezTo>
                <a:moveTo>
                  <a:pt x="152" y="289"/>
                </a:moveTo>
                <a:cubicBezTo>
                  <a:pt x="77" y="289"/>
                  <a:pt x="16" y="228"/>
                  <a:pt x="16" y="153"/>
                </a:cubicBezTo>
                <a:cubicBezTo>
                  <a:pt x="16" y="77"/>
                  <a:pt x="77" y="16"/>
                  <a:pt x="152" y="16"/>
                </a:cubicBezTo>
                <a:cubicBezTo>
                  <a:pt x="228" y="16"/>
                  <a:pt x="289" y="77"/>
                  <a:pt x="289" y="153"/>
                </a:cubicBezTo>
                <a:cubicBezTo>
                  <a:pt x="289" y="228"/>
                  <a:pt x="228" y="289"/>
                  <a:pt x="152" y="289"/>
                </a:cubicBezTo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>
              <a:solidFill>
                <a:prstClr val="black"/>
              </a:solidFill>
              <a:latin typeface="Calibri" panose="020F0502020204030204"/>
            </a:endParaRPr>
          </a:p>
        </p:txBody>
      </p:sp>
      <p:cxnSp>
        <p:nvCxnSpPr>
          <p:cNvPr id="17" name="Straight Arrow Connector 16"/>
          <p:cNvCxnSpPr/>
          <p:nvPr/>
        </p:nvCxnSpPr>
        <p:spPr>
          <a:xfrm>
            <a:off x="1715721" y="2076270"/>
            <a:ext cx="0" cy="229054"/>
          </a:xfrm>
          <a:prstGeom prst="straightConnector1">
            <a:avLst/>
          </a:prstGeom>
          <a:ln w="12700">
            <a:solidFill>
              <a:schemeClr val="accent5"/>
            </a:solidFill>
            <a:headEnd type="triangle" w="sm" len="sm"/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/>
          <p:nvPr/>
        </p:nvCxnSpPr>
        <p:spPr>
          <a:xfrm>
            <a:off x="4572000" y="2076270"/>
            <a:ext cx="0" cy="229054"/>
          </a:xfrm>
          <a:prstGeom prst="straightConnector1">
            <a:avLst/>
          </a:prstGeom>
          <a:ln w="12700">
            <a:solidFill>
              <a:schemeClr val="accent5"/>
            </a:solidFill>
            <a:headEnd type="triangle" w="sm" len="sm"/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/>
          <p:cNvCxnSpPr/>
          <p:nvPr/>
        </p:nvCxnSpPr>
        <p:spPr>
          <a:xfrm>
            <a:off x="7427778" y="2076270"/>
            <a:ext cx="0" cy="229054"/>
          </a:xfrm>
          <a:prstGeom prst="straightConnector1">
            <a:avLst/>
          </a:prstGeom>
          <a:ln w="12700">
            <a:solidFill>
              <a:schemeClr val="accent5"/>
            </a:solidFill>
            <a:headEnd type="triangle" w="sm" len="sm"/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Freeform 5"/>
          <p:cNvSpPr>
            <a:spLocks noEditPoints="1"/>
          </p:cNvSpPr>
          <p:nvPr/>
        </p:nvSpPr>
        <p:spPr bwMode="auto">
          <a:xfrm>
            <a:off x="875315" y="2361936"/>
            <a:ext cx="1680815" cy="1680814"/>
          </a:xfrm>
          <a:custGeom>
            <a:avLst/>
            <a:gdLst>
              <a:gd name="T0" fmla="*/ 2695 w 2695"/>
              <a:gd name="T1" fmla="*/ 1278 h 2694"/>
              <a:gd name="T2" fmla="*/ 2558 w 2695"/>
              <a:gd name="T3" fmla="*/ 1113 h 2694"/>
              <a:gd name="T4" fmla="*/ 2631 w 2695"/>
              <a:gd name="T5" fmla="*/ 932 h 2694"/>
              <a:gd name="T6" fmla="*/ 2457 w 2695"/>
              <a:gd name="T7" fmla="*/ 808 h 2694"/>
              <a:gd name="T8" fmla="*/ 2480 w 2695"/>
              <a:gd name="T9" fmla="*/ 614 h 2694"/>
              <a:gd name="T10" fmla="*/ 2279 w 2695"/>
              <a:gd name="T11" fmla="*/ 539 h 2694"/>
              <a:gd name="T12" fmla="*/ 2252 w 2695"/>
              <a:gd name="T13" fmla="*/ 346 h 2694"/>
              <a:gd name="T14" fmla="*/ 2038 w 2695"/>
              <a:gd name="T15" fmla="*/ 326 h 2694"/>
              <a:gd name="T16" fmla="*/ 1962 w 2695"/>
              <a:gd name="T17" fmla="*/ 146 h 2694"/>
              <a:gd name="T18" fmla="*/ 1750 w 2695"/>
              <a:gd name="T19" fmla="*/ 181 h 2694"/>
              <a:gd name="T20" fmla="*/ 1630 w 2695"/>
              <a:gd name="T21" fmla="*/ 28 h 2694"/>
              <a:gd name="T22" fmla="*/ 1435 w 2695"/>
              <a:gd name="T23" fmla="*/ 117 h 2694"/>
              <a:gd name="T24" fmla="*/ 1279 w 2695"/>
              <a:gd name="T25" fmla="*/ 0 h 2694"/>
              <a:gd name="T26" fmla="*/ 1114 w 2695"/>
              <a:gd name="T27" fmla="*/ 136 h 2694"/>
              <a:gd name="T28" fmla="*/ 933 w 2695"/>
              <a:gd name="T29" fmla="*/ 63 h 2694"/>
              <a:gd name="T30" fmla="*/ 808 w 2695"/>
              <a:gd name="T31" fmla="*/ 238 h 2694"/>
              <a:gd name="T32" fmla="*/ 615 w 2695"/>
              <a:gd name="T33" fmla="*/ 215 h 2694"/>
              <a:gd name="T34" fmla="*/ 540 w 2695"/>
              <a:gd name="T35" fmla="*/ 416 h 2694"/>
              <a:gd name="T36" fmla="*/ 347 w 2695"/>
              <a:gd name="T37" fmla="*/ 443 h 2694"/>
              <a:gd name="T38" fmla="*/ 326 w 2695"/>
              <a:gd name="T39" fmla="*/ 656 h 2694"/>
              <a:gd name="T40" fmla="*/ 147 w 2695"/>
              <a:gd name="T41" fmla="*/ 733 h 2694"/>
              <a:gd name="T42" fmla="*/ 182 w 2695"/>
              <a:gd name="T43" fmla="*/ 944 h 2694"/>
              <a:gd name="T44" fmla="*/ 29 w 2695"/>
              <a:gd name="T45" fmla="*/ 1065 h 2694"/>
              <a:gd name="T46" fmla="*/ 118 w 2695"/>
              <a:gd name="T47" fmla="*/ 1260 h 2694"/>
              <a:gd name="T48" fmla="*/ 0 w 2695"/>
              <a:gd name="T49" fmla="*/ 1416 h 2694"/>
              <a:gd name="T50" fmla="*/ 137 w 2695"/>
              <a:gd name="T51" fmla="*/ 1581 h 2694"/>
              <a:gd name="T52" fmla="*/ 64 w 2695"/>
              <a:gd name="T53" fmla="*/ 1762 h 2694"/>
              <a:gd name="T54" fmla="*/ 239 w 2695"/>
              <a:gd name="T55" fmla="*/ 1886 h 2694"/>
              <a:gd name="T56" fmla="*/ 215 w 2695"/>
              <a:gd name="T57" fmla="*/ 2080 h 2694"/>
              <a:gd name="T58" fmla="*/ 416 w 2695"/>
              <a:gd name="T59" fmla="*/ 2155 h 2694"/>
              <a:gd name="T60" fmla="*/ 443 w 2695"/>
              <a:gd name="T61" fmla="*/ 2348 h 2694"/>
              <a:gd name="T62" fmla="*/ 657 w 2695"/>
              <a:gd name="T63" fmla="*/ 2369 h 2694"/>
              <a:gd name="T64" fmla="*/ 733 w 2695"/>
              <a:gd name="T65" fmla="*/ 2548 h 2694"/>
              <a:gd name="T66" fmla="*/ 945 w 2695"/>
              <a:gd name="T67" fmla="*/ 2513 h 2694"/>
              <a:gd name="T68" fmla="*/ 1065 w 2695"/>
              <a:gd name="T69" fmla="*/ 2666 h 2694"/>
              <a:gd name="T70" fmla="*/ 1260 w 2695"/>
              <a:gd name="T71" fmla="*/ 2577 h 2694"/>
              <a:gd name="T72" fmla="*/ 1416 w 2695"/>
              <a:gd name="T73" fmla="*/ 2694 h 2694"/>
              <a:gd name="T74" fmla="*/ 1582 w 2695"/>
              <a:gd name="T75" fmla="*/ 2558 h 2694"/>
              <a:gd name="T76" fmla="*/ 1763 w 2695"/>
              <a:gd name="T77" fmla="*/ 2631 h 2694"/>
              <a:gd name="T78" fmla="*/ 1887 w 2695"/>
              <a:gd name="T79" fmla="*/ 2456 h 2694"/>
              <a:gd name="T80" fmla="*/ 2081 w 2695"/>
              <a:gd name="T81" fmla="*/ 2480 h 2694"/>
              <a:gd name="T82" fmla="*/ 2155 w 2695"/>
              <a:gd name="T83" fmla="*/ 2279 h 2694"/>
              <a:gd name="T84" fmla="*/ 2349 w 2695"/>
              <a:gd name="T85" fmla="*/ 2251 h 2694"/>
              <a:gd name="T86" fmla="*/ 2369 w 2695"/>
              <a:gd name="T87" fmla="*/ 2038 h 2694"/>
              <a:gd name="T88" fmla="*/ 2549 w 2695"/>
              <a:gd name="T89" fmla="*/ 1961 h 2694"/>
              <a:gd name="T90" fmla="*/ 2513 w 2695"/>
              <a:gd name="T91" fmla="*/ 1750 h 2694"/>
              <a:gd name="T92" fmla="*/ 2667 w 2695"/>
              <a:gd name="T93" fmla="*/ 1630 h 2694"/>
              <a:gd name="T94" fmla="*/ 2578 w 2695"/>
              <a:gd name="T95" fmla="*/ 1435 h 2694"/>
              <a:gd name="T96" fmla="*/ 1348 w 2695"/>
              <a:gd name="T97" fmla="*/ 2435 h 2694"/>
              <a:gd name="T98" fmla="*/ 1348 w 2695"/>
              <a:gd name="T99" fmla="*/ 259 h 2694"/>
              <a:gd name="T100" fmla="*/ 1348 w 2695"/>
              <a:gd name="T101" fmla="*/ 2435 h 26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2695" h="2694">
                <a:moveTo>
                  <a:pt x="2695" y="1416"/>
                </a:moveTo>
                <a:cubicBezTo>
                  <a:pt x="2695" y="1278"/>
                  <a:pt x="2695" y="1278"/>
                  <a:pt x="2695" y="1278"/>
                </a:cubicBezTo>
                <a:cubicBezTo>
                  <a:pt x="2578" y="1260"/>
                  <a:pt x="2578" y="1260"/>
                  <a:pt x="2578" y="1260"/>
                </a:cubicBezTo>
                <a:cubicBezTo>
                  <a:pt x="2574" y="1210"/>
                  <a:pt x="2568" y="1161"/>
                  <a:pt x="2558" y="1113"/>
                </a:cubicBezTo>
                <a:cubicBezTo>
                  <a:pt x="2667" y="1065"/>
                  <a:pt x="2667" y="1065"/>
                  <a:pt x="2667" y="1065"/>
                </a:cubicBezTo>
                <a:cubicBezTo>
                  <a:pt x="2631" y="932"/>
                  <a:pt x="2631" y="932"/>
                  <a:pt x="2631" y="932"/>
                </a:cubicBezTo>
                <a:cubicBezTo>
                  <a:pt x="2513" y="944"/>
                  <a:pt x="2513" y="944"/>
                  <a:pt x="2513" y="944"/>
                </a:cubicBezTo>
                <a:cubicBezTo>
                  <a:pt x="2497" y="897"/>
                  <a:pt x="2478" y="852"/>
                  <a:pt x="2457" y="808"/>
                </a:cubicBezTo>
                <a:cubicBezTo>
                  <a:pt x="2549" y="733"/>
                  <a:pt x="2549" y="733"/>
                  <a:pt x="2549" y="733"/>
                </a:cubicBezTo>
                <a:cubicBezTo>
                  <a:pt x="2480" y="614"/>
                  <a:pt x="2480" y="614"/>
                  <a:pt x="2480" y="614"/>
                </a:cubicBezTo>
                <a:cubicBezTo>
                  <a:pt x="2369" y="656"/>
                  <a:pt x="2369" y="656"/>
                  <a:pt x="2369" y="656"/>
                </a:cubicBezTo>
                <a:cubicBezTo>
                  <a:pt x="2341" y="615"/>
                  <a:pt x="2311" y="576"/>
                  <a:pt x="2279" y="539"/>
                </a:cubicBezTo>
                <a:cubicBezTo>
                  <a:pt x="2349" y="443"/>
                  <a:pt x="2349" y="443"/>
                  <a:pt x="2349" y="443"/>
                </a:cubicBezTo>
                <a:cubicBezTo>
                  <a:pt x="2252" y="346"/>
                  <a:pt x="2252" y="346"/>
                  <a:pt x="2252" y="346"/>
                </a:cubicBezTo>
                <a:cubicBezTo>
                  <a:pt x="2155" y="416"/>
                  <a:pt x="2155" y="416"/>
                  <a:pt x="2155" y="416"/>
                </a:cubicBezTo>
                <a:cubicBezTo>
                  <a:pt x="2118" y="383"/>
                  <a:pt x="2079" y="353"/>
                  <a:pt x="2038" y="326"/>
                </a:cubicBezTo>
                <a:cubicBezTo>
                  <a:pt x="2081" y="215"/>
                  <a:pt x="2081" y="215"/>
                  <a:pt x="2081" y="215"/>
                </a:cubicBezTo>
                <a:cubicBezTo>
                  <a:pt x="1962" y="146"/>
                  <a:pt x="1962" y="146"/>
                  <a:pt x="1962" y="146"/>
                </a:cubicBezTo>
                <a:cubicBezTo>
                  <a:pt x="1887" y="238"/>
                  <a:pt x="1887" y="238"/>
                  <a:pt x="1887" y="238"/>
                </a:cubicBezTo>
                <a:cubicBezTo>
                  <a:pt x="1843" y="217"/>
                  <a:pt x="1797" y="198"/>
                  <a:pt x="1750" y="181"/>
                </a:cubicBezTo>
                <a:cubicBezTo>
                  <a:pt x="1763" y="63"/>
                  <a:pt x="1763" y="63"/>
                  <a:pt x="1763" y="63"/>
                </a:cubicBezTo>
                <a:cubicBezTo>
                  <a:pt x="1630" y="28"/>
                  <a:pt x="1630" y="28"/>
                  <a:pt x="1630" y="28"/>
                </a:cubicBezTo>
                <a:cubicBezTo>
                  <a:pt x="1582" y="136"/>
                  <a:pt x="1582" y="136"/>
                  <a:pt x="1582" y="136"/>
                </a:cubicBezTo>
                <a:cubicBezTo>
                  <a:pt x="1534" y="127"/>
                  <a:pt x="1485" y="121"/>
                  <a:pt x="1435" y="117"/>
                </a:cubicBezTo>
                <a:cubicBezTo>
                  <a:pt x="1416" y="0"/>
                  <a:pt x="1416" y="0"/>
                  <a:pt x="1416" y="0"/>
                </a:cubicBezTo>
                <a:cubicBezTo>
                  <a:pt x="1279" y="0"/>
                  <a:pt x="1279" y="0"/>
                  <a:pt x="1279" y="0"/>
                </a:cubicBezTo>
                <a:cubicBezTo>
                  <a:pt x="1260" y="117"/>
                  <a:pt x="1260" y="117"/>
                  <a:pt x="1260" y="117"/>
                </a:cubicBezTo>
                <a:cubicBezTo>
                  <a:pt x="1210" y="121"/>
                  <a:pt x="1162" y="127"/>
                  <a:pt x="1114" y="136"/>
                </a:cubicBezTo>
                <a:cubicBezTo>
                  <a:pt x="1065" y="28"/>
                  <a:pt x="1065" y="28"/>
                  <a:pt x="1065" y="28"/>
                </a:cubicBezTo>
                <a:cubicBezTo>
                  <a:pt x="933" y="63"/>
                  <a:pt x="933" y="63"/>
                  <a:pt x="933" y="63"/>
                </a:cubicBezTo>
                <a:cubicBezTo>
                  <a:pt x="945" y="181"/>
                  <a:pt x="945" y="181"/>
                  <a:pt x="945" y="181"/>
                </a:cubicBezTo>
                <a:cubicBezTo>
                  <a:pt x="898" y="198"/>
                  <a:pt x="852" y="217"/>
                  <a:pt x="808" y="238"/>
                </a:cubicBezTo>
                <a:cubicBezTo>
                  <a:pt x="733" y="146"/>
                  <a:pt x="733" y="146"/>
                  <a:pt x="733" y="146"/>
                </a:cubicBezTo>
                <a:cubicBezTo>
                  <a:pt x="615" y="215"/>
                  <a:pt x="615" y="215"/>
                  <a:pt x="615" y="215"/>
                </a:cubicBezTo>
                <a:cubicBezTo>
                  <a:pt x="657" y="326"/>
                  <a:pt x="657" y="326"/>
                  <a:pt x="657" y="326"/>
                </a:cubicBezTo>
                <a:cubicBezTo>
                  <a:pt x="616" y="353"/>
                  <a:pt x="577" y="383"/>
                  <a:pt x="540" y="416"/>
                </a:cubicBezTo>
                <a:cubicBezTo>
                  <a:pt x="443" y="346"/>
                  <a:pt x="443" y="346"/>
                  <a:pt x="443" y="346"/>
                </a:cubicBezTo>
                <a:cubicBezTo>
                  <a:pt x="347" y="443"/>
                  <a:pt x="347" y="443"/>
                  <a:pt x="347" y="443"/>
                </a:cubicBezTo>
                <a:cubicBezTo>
                  <a:pt x="416" y="539"/>
                  <a:pt x="416" y="539"/>
                  <a:pt x="416" y="539"/>
                </a:cubicBezTo>
                <a:cubicBezTo>
                  <a:pt x="384" y="576"/>
                  <a:pt x="354" y="615"/>
                  <a:pt x="326" y="656"/>
                </a:cubicBezTo>
                <a:cubicBezTo>
                  <a:pt x="215" y="614"/>
                  <a:pt x="215" y="614"/>
                  <a:pt x="215" y="614"/>
                </a:cubicBezTo>
                <a:cubicBezTo>
                  <a:pt x="147" y="733"/>
                  <a:pt x="147" y="733"/>
                  <a:pt x="147" y="733"/>
                </a:cubicBezTo>
                <a:cubicBezTo>
                  <a:pt x="239" y="808"/>
                  <a:pt x="239" y="808"/>
                  <a:pt x="239" y="808"/>
                </a:cubicBezTo>
                <a:cubicBezTo>
                  <a:pt x="217" y="852"/>
                  <a:pt x="198" y="897"/>
                  <a:pt x="182" y="944"/>
                </a:cubicBezTo>
                <a:cubicBezTo>
                  <a:pt x="64" y="932"/>
                  <a:pt x="64" y="932"/>
                  <a:pt x="64" y="932"/>
                </a:cubicBezTo>
                <a:cubicBezTo>
                  <a:pt x="29" y="1065"/>
                  <a:pt x="29" y="1065"/>
                  <a:pt x="29" y="1065"/>
                </a:cubicBezTo>
                <a:cubicBezTo>
                  <a:pt x="137" y="1113"/>
                  <a:pt x="137" y="1113"/>
                  <a:pt x="137" y="1113"/>
                </a:cubicBezTo>
                <a:cubicBezTo>
                  <a:pt x="128" y="1161"/>
                  <a:pt x="121" y="1210"/>
                  <a:pt x="118" y="1260"/>
                </a:cubicBezTo>
                <a:cubicBezTo>
                  <a:pt x="0" y="1278"/>
                  <a:pt x="0" y="1278"/>
                  <a:pt x="0" y="1278"/>
                </a:cubicBezTo>
                <a:cubicBezTo>
                  <a:pt x="0" y="1416"/>
                  <a:pt x="0" y="1416"/>
                  <a:pt x="0" y="1416"/>
                </a:cubicBezTo>
                <a:cubicBezTo>
                  <a:pt x="118" y="1435"/>
                  <a:pt x="118" y="1435"/>
                  <a:pt x="118" y="1435"/>
                </a:cubicBezTo>
                <a:cubicBezTo>
                  <a:pt x="121" y="1484"/>
                  <a:pt x="128" y="1533"/>
                  <a:pt x="137" y="1581"/>
                </a:cubicBezTo>
                <a:cubicBezTo>
                  <a:pt x="29" y="1630"/>
                  <a:pt x="29" y="1630"/>
                  <a:pt x="29" y="1630"/>
                </a:cubicBezTo>
                <a:cubicBezTo>
                  <a:pt x="64" y="1762"/>
                  <a:pt x="64" y="1762"/>
                  <a:pt x="64" y="1762"/>
                </a:cubicBezTo>
                <a:cubicBezTo>
                  <a:pt x="182" y="1750"/>
                  <a:pt x="182" y="1750"/>
                  <a:pt x="182" y="1750"/>
                </a:cubicBezTo>
                <a:cubicBezTo>
                  <a:pt x="198" y="1797"/>
                  <a:pt x="217" y="1842"/>
                  <a:pt x="239" y="1886"/>
                </a:cubicBezTo>
                <a:cubicBezTo>
                  <a:pt x="147" y="1961"/>
                  <a:pt x="147" y="1961"/>
                  <a:pt x="147" y="1961"/>
                </a:cubicBezTo>
                <a:cubicBezTo>
                  <a:pt x="215" y="2080"/>
                  <a:pt x="215" y="2080"/>
                  <a:pt x="215" y="2080"/>
                </a:cubicBezTo>
                <a:cubicBezTo>
                  <a:pt x="326" y="2038"/>
                  <a:pt x="326" y="2038"/>
                  <a:pt x="326" y="2038"/>
                </a:cubicBezTo>
                <a:cubicBezTo>
                  <a:pt x="354" y="2079"/>
                  <a:pt x="384" y="2118"/>
                  <a:pt x="416" y="2155"/>
                </a:cubicBezTo>
                <a:cubicBezTo>
                  <a:pt x="347" y="2251"/>
                  <a:pt x="347" y="2251"/>
                  <a:pt x="347" y="2251"/>
                </a:cubicBezTo>
                <a:cubicBezTo>
                  <a:pt x="443" y="2348"/>
                  <a:pt x="443" y="2348"/>
                  <a:pt x="443" y="2348"/>
                </a:cubicBezTo>
                <a:cubicBezTo>
                  <a:pt x="540" y="2279"/>
                  <a:pt x="540" y="2279"/>
                  <a:pt x="540" y="2279"/>
                </a:cubicBezTo>
                <a:cubicBezTo>
                  <a:pt x="577" y="2311"/>
                  <a:pt x="616" y="2341"/>
                  <a:pt x="657" y="2369"/>
                </a:cubicBezTo>
                <a:cubicBezTo>
                  <a:pt x="615" y="2480"/>
                  <a:pt x="615" y="2480"/>
                  <a:pt x="615" y="2480"/>
                </a:cubicBezTo>
                <a:cubicBezTo>
                  <a:pt x="733" y="2548"/>
                  <a:pt x="733" y="2548"/>
                  <a:pt x="733" y="2548"/>
                </a:cubicBezTo>
                <a:cubicBezTo>
                  <a:pt x="808" y="2456"/>
                  <a:pt x="808" y="2456"/>
                  <a:pt x="808" y="2456"/>
                </a:cubicBezTo>
                <a:cubicBezTo>
                  <a:pt x="852" y="2478"/>
                  <a:pt x="898" y="2496"/>
                  <a:pt x="945" y="2513"/>
                </a:cubicBezTo>
                <a:cubicBezTo>
                  <a:pt x="933" y="2631"/>
                  <a:pt x="933" y="2631"/>
                  <a:pt x="933" y="2631"/>
                </a:cubicBezTo>
                <a:cubicBezTo>
                  <a:pt x="1065" y="2666"/>
                  <a:pt x="1065" y="2666"/>
                  <a:pt x="1065" y="2666"/>
                </a:cubicBezTo>
                <a:cubicBezTo>
                  <a:pt x="1114" y="2558"/>
                  <a:pt x="1114" y="2558"/>
                  <a:pt x="1114" y="2558"/>
                </a:cubicBezTo>
                <a:cubicBezTo>
                  <a:pt x="1162" y="2567"/>
                  <a:pt x="1210" y="2573"/>
                  <a:pt x="1260" y="2577"/>
                </a:cubicBezTo>
                <a:cubicBezTo>
                  <a:pt x="1279" y="2694"/>
                  <a:pt x="1279" y="2694"/>
                  <a:pt x="1279" y="2694"/>
                </a:cubicBezTo>
                <a:cubicBezTo>
                  <a:pt x="1416" y="2694"/>
                  <a:pt x="1416" y="2694"/>
                  <a:pt x="1416" y="2694"/>
                </a:cubicBezTo>
                <a:cubicBezTo>
                  <a:pt x="1435" y="2577"/>
                  <a:pt x="1435" y="2577"/>
                  <a:pt x="1435" y="2577"/>
                </a:cubicBezTo>
                <a:cubicBezTo>
                  <a:pt x="1485" y="2573"/>
                  <a:pt x="1534" y="2567"/>
                  <a:pt x="1582" y="2558"/>
                </a:cubicBezTo>
                <a:cubicBezTo>
                  <a:pt x="1630" y="2666"/>
                  <a:pt x="1630" y="2666"/>
                  <a:pt x="1630" y="2666"/>
                </a:cubicBezTo>
                <a:cubicBezTo>
                  <a:pt x="1763" y="2631"/>
                  <a:pt x="1763" y="2631"/>
                  <a:pt x="1763" y="2631"/>
                </a:cubicBezTo>
                <a:cubicBezTo>
                  <a:pt x="1750" y="2513"/>
                  <a:pt x="1750" y="2513"/>
                  <a:pt x="1750" y="2513"/>
                </a:cubicBezTo>
                <a:cubicBezTo>
                  <a:pt x="1797" y="2496"/>
                  <a:pt x="1843" y="2478"/>
                  <a:pt x="1887" y="2456"/>
                </a:cubicBezTo>
                <a:cubicBezTo>
                  <a:pt x="1962" y="2548"/>
                  <a:pt x="1962" y="2548"/>
                  <a:pt x="1962" y="2548"/>
                </a:cubicBezTo>
                <a:cubicBezTo>
                  <a:pt x="2081" y="2480"/>
                  <a:pt x="2081" y="2480"/>
                  <a:pt x="2081" y="2480"/>
                </a:cubicBezTo>
                <a:cubicBezTo>
                  <a:pt x="2038" y="2369"/>
                  <a:pt x="2038" y="2369"/>
                  <a:pt x="2038" y="2369"/>
                </a:cubicBezTo>
                <a:cubicBezTo>
                  <a:pt x="2079" y="2341"/>
                  <a:pt x="2118" y="2311"/>
                  <a:pt x="2155" y="2279"/>
                </a:cubicBezTo>
                <a:cubicBezTo>
                  <a:pt x="2252" y="2348"/>
                  <a:pt x="2252" y="2348"/>
                  <a:pt x="2252" y="2348"/>
                </a:cubicBezTo>
                <a:cubicBezTo>
                  <a:pt x="2349" y="2251"/>
                  <a:pt x="2349" y="2251"/>
                  <a:pt x="2349" y="2251"/>
                </a:cubicBezTo>
                <a:cubicBezTo>
                  <a:pt x="2279" y="2155"/>
                  <a:pt x="2279" y="2155"/>
                  <a:pt x="2279" y="2155"/>
                </a:cubicBezTo>
                <a:cubicBezTo>
                  <a:pt x="2311" y="2118"/>
                  <a:pt x="2341" y="2079"/>
                  <a:pt x="2369" y="2038"/>
                </a:cubicBezTo>
                <a:cubicBezTo>
                  <a:pt x="2480" y="2080"/>
                  <a:pt x="2480" y="2080"/>
                  <a:pt x="2480" y="2080"/>
                </a:cubicBezTo>
                <a:cubicBezTo>
                  <a:pt x="2549" y="1961"/>
                  <a:pt x="2549" y="1961"/>
                  <a:pt x="2549" y="1961"/>
                </a:cubicBezTo>
                <a:cubicBezTo>
                  <a:pt x="2457" y="1886"/>
                  <a:pt x="2457" y="1886"/>
                  <a:pt x="2457" y="1886"/>
                </a:cubicBezTo>
                <a:cubicBezTo>
                  <a:pt x="2478" y="1842"/>
                  <a:pt x="2497" y="1797"/>
                  <a:pt x="2513" y="1750"/>
                </a:cubicBezTo>
                <a:cubicBezTo>
                  <a:pt x="2631" y="1762"/>
                  <a:pt x="2631" y="1762"/>
                  <a:pt x="2631" y="1762"/>
                </a:cubicBezTo>
                <a:cubicBezTo>
                  <a:pt x="2667" y="1630"/>
                  <a:pt x="2667" y="1630"/>
                  <a:pt x="2667" y="1630"/>
                </a:cubicBezTo>
                <a:cubicBezTo>
                  <a:pt x="2558" y="1581"/>
                  <a:pt x="2558" y="1581"/>
                  <a:pt x="2558" y="1581"/>
                </a:cubicBezTo>
                <a:cubicBezTo>
                  <a:pt x="2568" y="1533"/>
                  <a:pt x="2574" y="1484"/>
                  <a:pt x="2578" y="1435"/>
                </a:cubicBezTo>
                <a:lnTo>
                  <a:pt x="2695" y="1416"/>
                </a:lnTo>
                <a:close/>
                <a:moveTo>
                  <a:pt x="1348" y="2435"/>
                </a:moveTo>
                <a:cubicBezTo>
                  <a:pt x="747" y="2435"/>
                  <a:pt x="259" y="1948"/>
                  <a:pt x="259" y="1347"/>
                </a:cubicBezTo>
                <a:cubicBezTo>
                  <a:pt x="259" y="746"/>
                  <a:pt x="747" y="259"/>
                  <a:pt x="1348" y="259"/>
                </a:cubicBezTo>
                <a:cubicBezTo>
                  <a:pt x="1949" y="259"/>
                  <a:pt x="2436" y="746"/>
                  <a:pt x="2436" y="1347"/>
                </a:cubicBezTo>
                <a:cubicBezTo>
                  <a:pt x="2436" y="1948"/>
                  <a:pt x="1949" y="2435"/>
                  <a:pt x="1348" y="2435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22" name="Freeform 6"/>
          <p:cNvSpPr>
            <a:spLocks noEditPoints="1"/>
          </p:cNvSpPr>
          <p:nvPr/>
        </p:nvSpPr>
        <p:spPr bwMode="auto">
          <a:xfrm>
            <a:off x="2304961" y="1546145"/>
            <a:ext cx="1677800" cy="1678804"/>
          </a:xfrm>
          <a:custGeom>
            <a:avLst/>
            <a:gdLst>
              <a:gd name="T0" fmla="*/ 2689 w 2691"/>
              <a:gd name="T1" fmla="*/ 1465 h 2691"/>
              <a:gd name="T2" fmla="*/ 2577 w 2691"/>
              <a:gd name="T3" fmla="*/ 1283 h 2691"/>
              <a:gd name="T4" fmla="*/ 2675 w 2691"/>
              <a:gd name="T5" fmla="*/ 1114 h 2691"/>
              <a:gd name="T6" fmla="*/ 2519 w 2691"/>
              <a:gd name="T7" fmla="*/ 966 h 2691"/>
              <a:gd name="T8" fmla="*/ 2569 w 2691"/>
              <a:gd name="T9" fmla="*/ 777 h 2691"/>
              <a:gd name="T10" fmla="*/ 2381 w 2691"/>
              <a:gd name="T11" fmla="*/ 675 h 2691"/>
              <a:gd name="T12" fmla="*/ 2381 w 2691"/>
              <a:gd name="T13" fmla="*/ 480 h 2691"/>
              <a:gd name="T14" fmla="*/ 2172 w 2691"/>
              <a:gd name="T15" fmla="*/ 430 h 2691"/>
              <a:gd name="T16" fmla="*/ 2121 w 2691"/>
              <a:gd name="T17" fmla="*/ 242 h 2691"/>
              <a:gd name="T18" fmla="*/ 1907 w 2691"/>
              <a:gd name="T19" fmla="*/ 247 h 2691"/>
              <a:gd name="T20" fmla="*/ 1809 w 2691"/>
              <a:gd name="T21" fmla="*/ 79 h 2691"/>
              <a:gd name="T22" fmla="*/ 1604 w 2691"/>
              <a:gd name="T23" fmla="*/ 140 h 2691"/>
              <a:gd name="T24" fmla="*/ 1466 w 2691"/>
              <a:gd name="T25" fmla="*/ 2 h 2691"/>
              <a:gd name="T26" fmla="*/ 1283 w 2691"/>
              <a:gd name="T27" fmla="*/ 114 h 2691"/>
              <a:gd name="T28" fmla="*/ 1114 w 2691"/>
              <a:gd name="T29" fmla="*/ 16 h 2691"/>
              <a:gd name="T30" fmla="*/ 966 w 2691"/>
              <a:gd name="T31" fmla="*/ 172 h 2691"/>
              <a:gd name="T32" fmla="*/ 778 w 2691"/>
              <a:gd name="T33" fmla="*/ 122 h 2691"/>
              <a:gd name="T34" fmla="*/ 676 w 2691"/>
              <a:gd name="T35" fmla="*/ 310 h 2691"/>
              <a:gd name="T36" fmla="*/ 480 w 2691"/>
              <a:gd name="T37" fmla="*/ 310 h 2691"/>
              <a:gd name="T38" fmla="*/ 431 w 2691"/>
              <a:gd name="T39" fmla="*/ 519 h 2691"/>
              <a:gd name="T40" fmla="*/ 242 w 2691"/>
              <a:gd name="T41" fmla="*/ 569 h 2691"/>
              <a:gd name="T42" fmla="*/ 248 w 2691"/>
              <a:gd name="T43" fmla="*/ 784 h 2691"/>
              <a:gd name="T44" fmla="*/ 79 w 2691"/>
              <a:gd name="T45" fmla="*/ 882 h 2691"/>
              <a:gd name="T46" fmla="*/ 140 w 2691"/>
              <a:gd name="T47" fmla="*/ 1087 h 2691"/>
              <a:gd name="T48" fmla="*/ 2 w 2691"/>
              <a:gd name="T49" fmla="*/ 1225 h 2691"/>
              <a:gd name="T50" fmla="*/ 114 w 2691"/>
              <a:gd name="T51" fmla="*/ 1408 h 2691"/>
              <a:gd name="T52" fmla="*/ 17 w 2691"/>
              <a:gd name="T53" fmla="*/ 1577 h 2691"/>
              <a:gd name="T54" fmla="*/ 172 w 2691"/>
              <a:gd name="T55" fmla="*/ 1725 h 2691"/>
              <a:gd name="T56" fmla="*/ 122 w 2691"/>
              <a:gd name="T57" fmla="*/ 1913 h 2691"/>
              <a:gd name="T58" fmla="*/ 311 w 2691"/>
              <a:gd name="T59" fmla="*/ 2015 h 2691"/>
              <a:gd name="T60" fmla="*/ 311 w 2691"/>
              <a:gd name="T61" fmla="*/ 2210 h 2691"/>
              <a:gd name="T62" fmla="*/ 519 w 2691"/>
              <a:gd name="T63" fmla="*/ 2260 h 2691"/>
              <a:gd name="T64" fmla="*/ 570 w 2691"/>
              <a:gd name="T65" fmla="*/ 2449 h 2691"/>
              <a:gd name="T66" fmla="*/ 784 w 2691"/>
              <a:gd name="T67" fmla="*/ 2443 h 2691"/>
              <a:gd name="T68" fmla="*/ 882 w 2691"/>
              <a:gd name="T69" fmla="*/ 2612 h 2691"/>
              <a:gd name="T70" fmla="*/ 1087 w 2691"/>
              <a:gd name="T71" fmla="*/ 2551 h 2691"/>
              <a:gd name="T72" fmla="*/ 1226 w 2691"/>
              <a:gd name="T73" fmla="*/ 2689 h 2691"/>
              <a:gd name="T74" fmla="*/ 1408 w 2691"/>
              <a:gd name="T75" fmla="*/ 2577 h 2691"/>
              <a:gd name="T76" fmla="*/ 1577 w 2691"/>
              <a:gd name="T77" fmla="*/ 2674 h 2691"/>
              <a:gd name="T78" fmla="*/ 1725 w 2691"/>
              <a:gd name="T79" fmla="*/ 2519 h 2691"/>
              <a:gd name="T80" fmla="*/ 1913 w 2691"/>
              <a:gd name="T81" fmla="*/ 2569 h 2691"/>
              <a:gd name="T82" fmla="*/ 2016 w 2691"/>
              <a:gd name="T83" fmla="*/ 2380 h 2691"/>
              <a:gd name="T84" fmla="*/ 2211 w 2691"/>
              <a:gd name="T85" fmla="*/ 2380 h 2691"/>
              <a:gd name="T86" fmla="*/ 2261 w 2691"/>
              <a:gd name="T87" fmla="*/ 2172 h 2691"/>
              <a:gd name="T88" fmla="*/ 2449 w 2691"/>
              <a:gd name="T89" fmla="*/ 2121 h 2691"/>
              <a:gd name="T90" fmla="*/ 2444 w 2691"/>
              <a:gd name="T91" fmla="*/ 1907 h 2691"/>
              <a:gd name="T92" fmla="*/ 2612 w 2691"/>
              <a:gd name="T93" fmla="*/ 1809 h 2691"/>
              <a:gd name="T94" fmla="*/ 2551 w 2691"/>
              <a:gd name="T95" fmla="*/ 1603 h 2691"/>
              <a:gd name="T96" fmla="*/ 1194 w 2691"/>
              <a:gd name="T97" fmla="*/ 2423 h 2691"/>
              <a:gd name="T98" fmla="*/ 1497 w 2691"/>
              <a:gd name="T99" fmla="*/ 268 h 2691"/>
              <a:gd name="T100" fmla="*/ 1194 w 2691"/>
              <a:gd name="T101" fmla="*/ 2423 h 26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2691" h="2691">
                <a:moveTo>
                  <a:pt x="2670" y="1601"/>
                </a:moveTo>
                <a:cubicBezTo>
                  <a:pt x="2689" y="1465"/>
                  <a:pt x="2689" y="1465"/>
                  <a:pt x="2689" y="1465"/>
                </a:cubicBezTo>
                <a:cubicBezTo>
                  <a:pt x="2576" y="1430"/>
                  <a:pt x="2576" y="1430"/>
                  <a:pt x="2576" y="1430"/>
                </a:cubicBezTo>
                <a:cubicBezTo>
                  <a:pt x="2579" y="1381"/>
                  <a:pt x="2580" y="1331"/>
                  <a:pt x="2577" y="1283"/>
                </a:cubicBezTo>
                <a:cubicBezTo>
                  <a:pt x="2691" y="1250"/>
                  <a:pt x="2691" y="1250"/>
                  <a:pt x="2691" y="1250"/>
                </a:cubicBezTo>
                <a:cubicBezTo>
                  <a:pt x="2675" y="1114"/>
                  <a:pt x="2675" y="1114"/>
                  <a:pt x="2675" y="1114"/>
                </a:cubicBezTo>
                <a:cubicBezTo>
                  <a:pt x="2556" y="1109"/>
                  <a:pt x="2556" y="1109"/>
                  <a:pt x="2556" y="1109"/>
                </a:cubicBezTo>
                <a:cubicBezTo>
                  <a:pt x="2547" y="1060"/>
                  <a:pt x="2534" y="1013"/>
                  <a:pt x="2519" y="966"/>
                </a:cubicBezTo>
                <a:cubicBezTo>
                  <a:pt x="2621" y="905"/>
                  <a:pt x="2621" y="905"/>
                  <a:pt x="2621" y="905"/>
                </a:cubicBezTo>
                <a:cubicBezTo>
                  <a:pt x="2569" y="777"/>
                  <a:pt x="2569" y="777"/>
                  <a:pt x="2569" y="777"/>
                </a:cubicBezTo>
                <a:cubicBezTo>
                  <a:pt x="2454" y="804"/>
                  <a:pt x="2454" y="804"/>
                  <a:pt x="2454" y="804"/>
                </a:cubicBezTo>
                <a:cubicBezTo>
                  <a:pt x="2432" y="760"/>
                  <a:pt x="2408" y="717"/>
                  <a:pt x="2381" y="675"/>
                </a:cubicBezTo>
                <a:cubicBezTo>
                  <a:pt x="2463" y="590"/>
                  <a:pt x="2463" y="590"/>
                  <a:pt x="2463" y="590"/>
                </a:cubicBezTo>
                <a:cubicBezTo>
                  <a:pt x="2381" y="480"/>
                  <a:pt x="2381" y="480"/>
                  <a:pt x="2381" y="480"/>
                </a:cubicBezTo>
                <a:cubicBezTo>
                  <a:pt x="2276" y="536"/>
                  <a:pt x="2276" y="536"/>
                  <a:pt x="2276" y="536"/>
                </a:cubicBezTo>
                <a:cubicBezTo>
                  <a:pt x="2243" y="498"/>
                  <a:pt x="2209" y="463"/>
                  <a:pt x="2172" y="430"/>
                </a:cubicBezTo>
                <a:cubicBezTo>
                  <a:pt x="2229" y="326"/>
                  <a:pt x="2229" y="326"/>
                  <a:pt x="2229" y="326"/>
                </a:cubicBezTo>
                <a:cubicBezTo>
                  <a:pt x="2121" y="242"/>
                  <a:pt x="2121" y="242"/>
                  <a:pt x="2121" y="242"/>
                </a:cubicBezTo>
                <a:cubicBezTo>
                  <a:pt x="2034" y="322"/>
                  <a:pt x="2034" y="322"/>
                  <a:pt x="2034" y="322"/>
                </a:cubicBezTo>
                <a:cubicBezTo>
                  <a:pt x="1994" y="295"/>
                  <a:pt x="1951" y="270"/>
                  <a:pt x="1907" y="247"/>
                </a:cubicBezTo>
                <a:cubicBezTo>
                  <a:pt x="1936" y="132"/>
                  <a:pt x="1936" y="132"/>
                  <a:pt x="1936" y="132"/>
                </a:cubicBezTo>
                <a:cubicBezTo>
                  <a:pt x="1809" y="79"/>
                  <a:pt x="1809" y="79"/>
                  <a:pt x="1809" y="79"/>
                </a:cubicBezTo>
                <a:cubicBezTo>
                  <a:pt x="1746" y="179"/>
                  <a:pt x="1746" y="179"/>
                  <a:pt x="1746" y="179"/>
                </a:cubicBezTo>
                <a:cubicBezTo>
                  <a:pt x="1700" y="163"/>
                  <a:pt x="1653" y="150"/>
                  <a:pt x="1604" y="140"/>
                </a:cubicBezTo>
                <a:cubicBezTo>
                  <a:pt x="1601" y="21"/>
                  <a:pt x="1601" y="21"/>
                  <a:pt x="1601" y="21"/>
                </a:cubicBezTo>
                <a:cubicBezTo>
                  <a:pt x="1466" y="2"/>
                  <a:pt x="1466" y="2"/>
                  <a:pt x="1466" y="2"/>
                </a:cubicBezTo>
                <a:cubicBezTo>
                  <a:pt x="1431" y="115"/>
                  <a:pt x="1431" y="115"/>
                  <a:pt x="1431" y="115"/>
                </a:cubicBezTo>
                <a:cubicBezTo>
                  <a:pt x="1381" y="112"/>
                  <a:pt x="1332" y="111"/>
                  <a:pt x="1283" y="114"/>
                </a:cubicBezTo>
                <a:cubicBezTo>
                  <a:pt x="1250" y="0"/>
                  <a:pt x="1250" y="0"/>
                  <a:pt x="1250" y="0"/>
                </a:cubicBezTo>
                <a:cubicBezTo>
                  <a:pt x="1114" y="16"/>
                  <a:pt x="1114" y="16"/>
                  <a:pt x="1114" y="16"/>
                </a:cubicBezTo>
                <a:cubicBezTo>
                  <a:pt x="1109" y="135"/>
                  <a:pt x="1109" y="135"/>
                  <a:pt x="1109" y="135"/>
                </a:cubicBezTo>
                <a:cubicBezTo>
                  <a:pt x="1061" y="144"/>
                  <a:pt x="1013" y="157"/>
                  <a:pt x="966" y="172"/>
                </a:cubicBezTo>
                <a:cubicBezTo>
                  <a:pt x="905" y="70"/>
                  <a:pt x="905" y="70"/>
                  <a:pt x="905" y="70"/>
                </a:cubicBezTo>
                <a:cubicBezTo>
                  <a:pt x="778" y="122"/>
                  <a:pt x="778" y="122"/>
                  <a:pt x="778" y="122"/>
                </a:cubicBezTo>
                <a:cubicBezTo>
                  <a:pt x="804" y="237"/>
                  <a:pt x="804" y="237"/>
                  <a:pt x="804" y="237"/>
                </a:cubicBezTo>
                <a:cubicBezTo>
                  <a:pt x="760" y="259"/>
                  <a:pt x="717" y="283"/>
                  <a:pt x="676" y="310"/>
                </a:cubicBezTo>
                <a:cubicBezTo>
                  <a:pt x="590" y="228"/>
                  <a:pt x="590" y="228"/>
                  <a:pt x="590" y="228"/>
                </a:cubicBezTo>
                <a:cubicBezTo>
                  <a:pt x="480" y="310"/>
                  <a:pt x="480" y="310"/>
                  <a:pt x="480" y="310"/>
                </a:cubicBezTo>
                <a:cubicBezTo>
                  <a:pt x="536" y="415"/>
                  <a:pt x="536" y="415"/>
                  <a:pt x="536" y="415"/>
                </a:cubicBezTo>
                <a:cubicBezTo>
                  <a:pt x="499" y="448"/>
                  <a:pt x="464" y="482"/>
                  <a:pt x="431" y="519"/>
                </a:cubicBezTo>
                <a:cubicBezTo>
                  <a:pt x="327" y="461"/>
                  <a:pt x="327" y="461"/>
                  <a:pt x="327" y="461"/>
                </a:cubicBezTo>
                <a:cubicBezTo>
                  <a:pt x="242" y="569"/>
                  <a:pt x="242" y="569"/>
                  <a:pt x="242" y="569"/>
                </a:cubicBezTo>
                <a:cubicBezTo>
                  <a:pt x="323" y="656"/>
                  <a:pt x="323" y="656"/>
                  <a:pt x="323" y="656"/>
                </a:cubicBezTo>
                <a:cubicBezTo>
                  <a:pt x="295" y="697"/>
                  <a:pt x="270" y="740"/>
                  <a:pt x="248" y="784"/>
                </a:cubicBezTo>
                <a:cubicBezTo>
                  <a:pt x="132" y="755"/>
                  <a:pt x="132" y="755"/>
                  <a:pt x="132" y="755"/>
                </a:cubicBezTo>
                <a:cubicBezTo>
                  <a:pt x="79" y="882"/>
                  <a:pt x="79" y="882"/>
                  <a:pt x="79" y="882"/>
                </a:cubicBezTo>
                <a:cubicBezTo>
                  <a:pt x="179" y="945"/>
                  <a:pt x="179" y="945"/>
                  <a:pt x="179" y="945"/>
                </a:cubicBezTo>
                <a:cubicBezTo>
                  <a:pt x="164" y="991"/>
                  <a:pt x="150" y="1038"/>
                  <a:pt x="140" y="1087"/>
                </a:cubicBezTo>
                <a:cubicBezTo>
                  <a:pt x="21" y="1089"/>
                  <a:pt x="21" y="1089"/>
                  <a:pt x="21" y="1089"/>
                </a:cubicBezTo>
                <a:cubicBezTo>
                  <a:pt x="2" y="1225"/>
                  <a:pt x="2" y="1225"/>
                  <a:pt x="2" y="1225"/>
                </a:cubicBezTo>
                <a:cubicBezTo>
                  <a:pt x="116" y="1260"/>
                  <a:pt x="116" y="1260"/>
                  <a:pt x="116" y="1260"/>
                </a:cubicBezTo>
                <a:cubicBezTo>
                  <a:pt x="112" y="1310"/>
                  <a:pt x="112" y="1359"/>
                  <a:pt x="114" y="1408"/>
                </a:cubicBezTo>
                <a:cubicBezTo>
                  <a:pt x="0" y="1441"/>
                  <a:pt x="0" y="1441"/>
                  <a:pt x="0" y="1441"/>
                </a:cubicBezTo>
                <a:cubicBezTo>
                  <a:pt x="17" y="1577"/>
                  <a:pt x="17" y="1577"/>
                  <a:pt x="17" y="1577"/>
                </a:cubicBezTo>
                <a:cubicBezTo>
                  <a:pt x="135" y="1582"/>
                  <a:pt x="135" y="1582"/>
                  <a:pt x="135" y="1582"/>
                </a:cubicBezTo>
                <a:cubicBezTo>
                  <a:pt x="145" y="1630"/>
                  <a:pt x="157" y="1678"/>
                  <a:pt x="172" y="1725"/>
                </a:cubicBezTo>
                <a:cubicBezTo>
                  <a:pt x="71" y="1786"/>
                  <a:pt x="71" y="1786"/>
                  <a:pt x="71" y="1786"/>
                </a:cubicBezTo>
                <a:cubicBezTo>
                  <a:pt x="122" y="1913"/>
                  <a:pt x="122" y="1913"/>
                  <a:pt x="122" y="1913"/>
                </a:cubicBezTo>
                <a:cubicBezTo>
                  <a:pt x="238" y="1887"/>
                  <a:pt x="238" y="1887"/>
                  <a:pt x="238" y="1887"/>
                </a:cubicBezTo>
                <a:cubicBezTo>
                  <a:pt x="259" y="1931"/>
                  <a:pt x="284" y="1974"/>
                  <a:pt x="311" y="2015"/>
                </a:cubicBezTo>
                <a:cubicBezTo>
                  <a:pt x="228" y="2101"/>
                  <a:pt x="228" y="2101"/>
                  <a:pt x="228" y="2101"/>
                </a:cubicBezTo>
                <a:cubicBezTo>
                  <a:pt x="311" y="2210"/>
                  <a:pt x="311" y="2210"/>
                  <a:pt x="311" y="2210"/>
                </a:cubicBezTo>
                <a:cubicBezTo>
                  <a:pt x="416" y="2155"/>
                  <a:pt x="416" y="2155"/>
                  <a:pt x="416" y="2155"/>
                </a:cubicBezTo>
                <a:cubicBezTo>
                  <a:pt x="448" y="2192"/>
                  <a:pt x="483" y="2227"/>
                  <a:pt x="519" y="2260"/>
                </a:cubicBezTo>
                <a:cubicBezTo>
                  <a:pt x="462" y="2364"/>
                  <a:pt x="462" y="2364"/>
                  <a:pt x="462" y="2364"/>
                </a:cubicBezTo>
                <a:cubicBezTo>
                  <a:pt x="570" y="2449"/>
                  <a:pt x="570" y="2449"/>
                  <a:pt x="570" y="2449"/>
                </a:cubicBezTo>
                <a:cubicBezTo>
                  <a:pt x="657" y="2368"/>
                  <a:pt x="657" y="2368"/>
                  <a:pt x="657" y="2368"/>
                </a:cubicBezTo>
                <a:cubicBezTo>
                  <a:pt x="698" y="2396"/>
                  <a:pt x="740" y="2421"/>
                  <a:pt x="784" y="2443"/>
                </a:cubicBezTo>
                <a:cubicBezTo>
                  <a:pt x="756" y="2558"/>
                  <a:pt x="756" y="2558"/>
                  <a:pt x="756" y="2558"/>
                </a:cubicBezTo>
                <a:cubicBezTo>
                  <a:pt x="882" y="2612"/>
                  <a:pt x="882" y="2612"/>
                  <a:pt x="882" y="2612"/>
                </a:cubicBezTo>
                <a:cubicBezTo>
                  <a:pt x="945" y="2512"/>
                  <a:pt x="945" y="2512"/>
                  <a:pt x="945" y="2512"/>
                </a:cubicBezTo>
                <a:cubicBezTo>
                  <a:pt x="991" y="2527"/>
                  <a:pt x="1039" y="2541"/>
                  <a:pt x="1087" y="2551"/>
                </a:cubicBezTo>
                <a:cubicBezTo>
                  <a:pt x="1090" y="2670"/>
                  <a:pt x="1090" y="2670"/>
                  <a:pt x="1090" y="2670"/>
                </a:cubicBezTo>
                <a:cubicBezTo>
                  <a:pt x="1226" y="2689"/>
                  <a:pt x="1226" y="2689"/>
                  <a:pt x="1226" y="2689"/>
                </a:cubicBezTo>
                <a:cubicBezTo>
                  <a:pt x="1261" y="2575"/>
                  <a:pt x="1261" y="2575"/>
                  <a:pt x="1261" y="2575"/>
                </a:cubicBezTo>
                <a:cubicBezTo>
                  <a:pt x="1310" y="2579"/>
                  <a:pt x="1360" y="2579"/>
                  <a:pt x="1408" y="2577"/>
                </a:cubicBezTo>
                <a:cubicBezTo>
                  <a:pt x="1441" y="2691"/>
                  <a:pt x="1441" y="2691"/>
                  <a:pt x="1441" y="2691"/>
                </a:cubicBezTo>
                <a:cubicBezTo>
                  <a:pt x="1577" y="2674"/>
                  <a:pt x="1577" y="2674"/>
                  <a:pt x="1577" y="2674"/>
                </a:cubicBezTo>
                <a:cubicBezTo>
                  <a:pt x="1582" y="2556"/>
                  <a:pt x="1582" y="2556"/>
                  <a:pt x="1582" y="2556"/>
                </a:cubicBezTo>
                <a:cubicBezTo>
                  <a:pt x="1631" y="2546"/>
                  <a:pt x="1678" y="2534"/>
                  <a:pt x="1725" y="2519"/>
                </a:cubicBezTo>
                <a:cubicBezTo>
                  <a:pt x="1786" y="2620"/>
                  <a:pt x="1786" y="2620"/>
                  <a:pt x="1786" y="2620"/>
                </a:cubicBezTo>
                <a:cubicBezTo>
                  <a:pt x="1913" y="2569"/>
                  <a:pt x="1913" y="2569"/>
                  <a:pt x="1913" y="2569"/>
                </a:cubicBezTo>
                <a:cubicBezTo>
                  <a:pt x="1887" y="2453"/>
                  <a:pt x="1887" y="2453"/>
                  <a:pt x="1887" y="2453"/>
                </a:cubicBezTo>
                <a:cubicBezTo>
                  <a:pt x="1931" y="2431"/>
                  <a:pt x="1974" y="2407"/>
                  <a:pt x="2016" y="2380"/>
                </a:cubicBezTo>
                <a:cubicBezTo>
                  <a:pt x="2101" y="2463"/>
                  <a:pt x="2101" y="2463"/>
                  <a:pt x="2101" y="2463"/>
                </a:cubicBezTo>
                <a:cubicBezTo>
                  <a:pt x="2211" y="2380"/>
                  <a:pt x="2211" y="2380"/>
                  <a:pt x="2211" y="2380"/>
                </a:cubicBezTo>
                <a:cubicBezTo>
                  <a:pt x="2155" y="2275"/>
                  <a:pt x="2155" y="2275"/>
                  <a:pt x="2155" y="2275"/>
                </a:cubicBezTo>
                <a:cubicBezTo>
                  <a:pt x="2192" y="2243"/>
                  <a:pt x="2228" y="2208"/>
                  <a:pt x="2261" y="2172"/>
                </a:cubicBezTo>
                <a:cubicBezTo>
                  <a:pt x="2365" y="2229"/>
                  <a:pt x="2365" y="2229"/>
                  <a:pt x="2365" y="2229"/>
                </a:cubicBezTo>
                <a:cubicBezTo>
                  <a:pt x="2449" y="2121"/>
                  <a:pt x="2449" y="2121"/>
                  <a:pt x="2449" y="2121"/>
                </a:cubicBezTo>
                <a:cubicBezTo>
                  <a:pt x="2369" y="2034"/>
                  <a:pt x="2369" y="2034"/>
                  <a:pt x="2369" y="2034"/>
                </a:cubicBezTo>
                <a:cubicBezTo>
                  <a:pt x="2396" y="1993"/>
                  <a:pt x="2421" y="1951"/>
                  <a:pt x="2444" y="1907"/>
                </a:cubicBezTo>
                <a:cubicBezTo>
                  <a:pt x="2559" y="1935"/>
                  <a:pt x="2559" y="1935"/>
                  <a:pt x="2559" y="1935"/>
                </a:cubicBezTo>
                <a:cubicBezTo>
                  <a:pt x="2612" y="1809"/>
                  <a:pt x="2612" y="1809"/>
                  <a:pt x="2612" y="1809"/>
                </a:cubicBezTo>
                <a:cubicBezTo>
                  <a:pt x="2512" y="1746"/>
                  <a:pt x="2512" y="1746"/>
                  <a:pt x="2512" y="1746"/>
                </a:cubicBezTo>
                <a:cubicBezTo>
                  <a:pt x="2528" y="1700"/>
                  <a:pt x="2541" y="1652"/>
                  <a:pt x="2551" y="1603"/>
                </a:cubicBezTo>
                <a:lnTo>
                  <a:pt x="2670" y="1601"/>
                </a:lnTo>
                <a:close/>
                <a:moveTo>
                  <a:pt x="1194" y="2423"/>
                </a:moveTo>
                <a:cubicBezTo>
                  <a:pt x="599" y="2339"/>
                  <a:pt x="184" y="1789"/>
                  <a:pt x="268" y="1193"/>
                </a:cubicBezTo>
                <a:cubicBezTo>
                  <a:pt x="352" y="598"/>
                  <a:pt x="902" y="184"/>
                  <a:pt x="1497" y="268"/>
                </a:cubicBezTo>
                <a:cubicBezTo>
                  <a:pt x="2093" y="352"/>
                  <a:pt x="2507" y="902"/>
                  <a:pt x="2423" y="1497"/>
                </a:cubicBezTo>
                <a:cubicBezTo>
                  <a:pt x="2339" y="2092"/>
                  <a:pt x="1789" y="2507"/>
                  <a:pt x="1194" y="2423"/>
                </a:cubicBezTo>
                <a:close/>
              </a:path>
            </a:pathLst>
          </a:custGeom>
          <a:solidFill>
            <a:srgbClr val="EC0000"/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23" name="Freeform 7"/>
          <p:cNvSpPr>
            <a:spLocks noEditPoints="1"/>
          </p:cNvSpPr>
          <p:nvPr/>
        </p:nvSpPr>
        <p:spPr bwMode="auto">
          <a:xfrm>
            <a:off x="3731594" y="2379017"/>
            <a:ext cx="1680815" cy="1680814"/>
          </a:xfrm>
          <a:custGeom>
            <a:avLst/>
            <a:gdLst>
              <a:gd name="T0" fmla="*/ 2695 w 2695"/>
              <a:gd name="T1" fmla="*/ 1279 h 2695"/>
              <a:gd name="T2" fmla="*/ 2558 w 2695"/>
              <a:gd name="T3" fmla="*/ 1114 h 2695"/>
              <a:gd name="T4" fmla="*/ 2631 w 2695"/>
              <a:gd name="T5" fmla="*/ 933 h 2695"/>
              <a:gd name="T6" fmla="*/ 2457 w 2695"/>
              <a:gd name="T7" fmla="*/ 808 h 2695"/>
              <a:gd name="T8" fmla="*/ 2480 w 2695"/>
              <a:gd name="T9" fmla="*/ 615 h 2695"/>
              <a:gd name="T10" fmla="*/ 2279 w 2695"/>
              <a:gd name="T11" fmla="*/ 540 h 2695"/>
              <a:gd name="T12" fmla="*/ 2252 w 2695"/>
              <a:gd name="T13" fmla="*/ 347 h 2695"/>
              <a:gd name="T14" fmla="*/ 2038 w 2695"/>
              <a:gd name="T15" fmla="*/ 326 h 2695"/>
              <a:gd name="T16" fmla="*/ 1962 w 2695"/>
              <a:gd name="T17" fmla="*/ 147 h 2695"/>
              <a:gd name="T18" fmla="*/ 1750 w 2695"/>
              <a:gd name="T19" fmla="*/ 182 h 2695"/>
              <a:gd name="T20" fmla="*/ 1630 w 2695"/>
              <a:gd name="T21" fmla="*/ 29 h 2695"/>
              <a:gd name="T22" fmla="*/ 1435 w 2695"/>
              <a:gd name="T23" fmla="*/ 118 h 2695"/>
              <a:gd name="T24" fmla="*/ 1279 w 2695"/>
              <a:gd name="T25" fmla="*/ 0 h 2695"/>
              <a:gd name="T26" fmla="*/ 1114 w 2695"/>
              <a:gd name="T27" fmla="*/ 137 h 2695"/>
              <a:gd name="T28" fmla="*/ 933 w 2695"/>
              <a:gd name="T29" fmla="*/ 64 h 2695"/>
              <a:gd name="T30" fmla="*/ 808 w 2695"/>
              <a:gd name="T31" fmla="*/ 239 h 2695"/>
              <a:gd name="T32" fmla="*/ 615 w 2695"/>
              <a:gd name="T33" fmla="*/ 215 h 2695"/>
              <a:gd name="T34" fmla="*/ 540 w 2695"/>
              <a:gd name="T35" fmla="*/ 416 h 2695"/>
              <a:gd name="T36" fmla="*/ 347 w 2695"/>
              <a:gd name="T37" fmla="*/ 443 h 2695"/>
              <a:gd name="T38" fmla="*/ 326 w 2695"/>
              <a:gd name="T39" fmla="*/ 657 h 2695"/>
              <a:gd name="T40" fmla="*/ 147 w 2695"/>
              <a:gd name="T41" fmla="*/ 733 h 2695"/>
              <a:gd name="T42" fmla="*/ 182 w 2695"/>
              <a:gd name="T43" fmla="*/ 945 h 2695"/>
              <a:gd name="T44" fmla="*/ 29 w 2695"/>
              <a:gd name="T45" fmla="*/ 1065 h 2695"/>
              <a:gd name="T46" fmla="*/ 118 w 2695"/>
              <a:gd name="T47" fmla="*/ 1260 h 2695"/>
              <a:gd name="T48" fmla="*/ 0 w 2695"/>
              <a:gd name="T49" fmla="*/ 1416 h 2695"/>
              <a:gd name="T50" fmla="*/ 137 w 2695"/>
              <a:gd name="T51" fmla="*/ 1582 h 2695"/>
              <a:gd name="T52" fmla="*/ 64 w 2695"/>
              <a:gd name="T53" fmla="*/ 1763 h 2695"/>
              <a:gd name="T54" fmla="*/ 239 w 2695"/>
              <a:gd name="T55" fmla="*/ 1887 h 2695"/>
              <a:gd name="T56" fmla="*/ 215 w 2695"/>
              <a:gd name="T57" fmla="*/ 2081 h 2695"/>
              <a:gd name="T58" fmla="*/ 416 w 2695"/>
              <a:gd name="T59" fmla="*/ 2155 h 2695"/>
              <a:gd name="T60" fmla="*/ 443 w 2695"/>
              <a:gd name="T61" fmla="*/ 2349 h 2695"/>
              <a:gd name="T62" fmla="*/ 657 w 2695"/>
              <a:gd name="T63" fmla="*/ 2369 h 2695"/>
              <a:gd name="T64" fmla="*/ 733 w 2695"/>
              <a:gd name="T65" fmla="*/ 2549 h 2695"/>
              <a:gd name="T66" fmla="*/ 945 w 2695"/>
              <a:gd name="T67" fmla="*/ 2513 h 2695"/>
              <a:gd name="T68" fmla="*/ 1065 w 2695"/>
              <a:gd name="T69" fmla="*/ 2667 h 2695"/>
              <a:gd name="T70" fmla="*/ 1260 w 2695"/>
              <a:gd name="T71" fmla="*/ 2578 h 2695"/>
              <a:gd name="T72" fmla="*/ 1416 w 2695"/>
              <a:gd name="T73" fmla="*/ 2695 h 2695"/>
              <a:gd name="T74" fmla="*/ 1582 w 2695"/>
              <a:gd name="T75" fmla="*/ 2558 h 2695"/>
              <a:gd name="T76" fmla="*/ 1763 w 2695"/>
              <a:gd name="T77" fmla="*/ 2631 h 2695"/>
              <a:gd name="T78" fmla="*/ 1887 w 2695"/>
              <a:gd name="T79" fmla="*/ 2457 h 2695"/>
              <a:gd name="T80" fmla="*/ 2081 w 2695"/>
              <a:gd name="T81" fmla="*/ 2480 h 2695"/>
              <a:gd name="T82" fmla="*/ 2156 w 2695"/>
              <a:gd name="T83" fmla="*/ 2279 h 2695"/>
              <a:gd name="T84" fmla="*/ 2349 w 2695"/>
              <a:gd name="T85" fmla="*/ 2252 h 2695"/>
              <a:gd name="T86" fmla="*/ 2369 w 2695"/>
              <a:gd name="T87" fmla="*/ 2038 h 2695"/>
              <a:gd name="T88" fmla="*/ 2549 w 2695"/>
              <a:gd name="T89" fmla="*/ 1962 h 2695"/>
              <a:gd name="T90" fmla="*/ 2513 w 2695"/>
              <a:gd name="T91" fmla="*/ 1750 h 2695"/>
              <a:gd name="T92" fmla="*/ 2667 w 2695"/>
              <a:gd name="T93" fmla="*/ 1630 h 2695"/>
              <a:gd name="T94" fmla="*/ 2578 w 2695"/>
              <a:gd name="T95" fmla="*/ 1435 h 2695"/>
              <a:gd name="T96" fmla="*/ 1348 w 2695"/>
              <a:gd name="T97" fmla="*/ 2436 h 2695"/>
              <a:gd name="T98" fmla="*/ 1348 w 2695"/>
              <a:gd name="T99" fmla="*/ 259 h 2695"/>
              <a:gd name="T100" fmla="*/ 1348 w 2695"/>
              <a:gd name="T101" fmla="*/ 2436 h 269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2695" h="2695">
                <a:moveTo>
                  <a:pt x="2695" y="1416"/>
                </a:moveTo>
                <a:cubicBezTo>
                  <a:pt x="2695" y="1279"/>
                  <a:pt x="2695" y="1279"/>
                  <a:pt x="2695" y="1279"/>
                </a:cubicBezTo>
                <a:cubicBezTo>
                  <a:pt x="2578" y="1260"/>
                  <a:pt x="2578" y="1260"/>
                  <a:pt x="2578" y="1260"/>
                </a:cubicBezTo>
                <a:cubicBezTo>
                  <a:pt x="2574" y="1210"/>
                  <a:pt x="2568" y="1162"/>
                  <a:pt x="2558" y="1114"/>
                </a:cubicBezTo>
                <a:cubicBezTo>
                  <a:pt x="2667" y="1065"/>
                  <a:pt x="2667" y="1065"/>
                  <a:pt x="2667" y="1065"/>
                </a:cubicBezTo>
                <a:cubicBezTo>
                  <a:pt x="2631" y="933"/>
                  <a:pt x="2631" y="933"/>
                  <a:pt x="2631" y="933"/>
                </a:cubicBezTo>
                <a:cubicBezTo>
                  <a:pt x="2513" y="945"/>
                  <a:pt x="2513" y="945"/>
                  <a:pt x="2513" y="945"/>
                </a:cubicBezTo>
                <a:cubicBezTo>
                  <a:pt x="2497" y="898"/>
                  <a:pt x="2478" y="852"/>
                  <a:pt x="2457" y="808"/>
                </a:cubicBezTo>
                <a:cubicBezTo>
                  <a:pt x="2549" y="733"/>
                  <a:pt x="2549" y="733"/>
                  <a:pt x="2549" y="733"/>
                </a:cubicBezTo>
                <a:cubicBezTo>
                  <a:pt x="2480" y="615"/>
                  <a:pt x="2480" y="615"/>
                  <a:pt x="2480" y="615"/>
                </a:cubicBezTo>
                <a:cubicBezTo>
                  <a:pt x="2369" y="657"/>
                  <a:pt x="2369" y="657"/>
                  <a:pt x="2369" y="657"/>
                </a:cubicBezTo>
                <a:cubicBezTo>
                  <a:pt x="2341" y="616"/>
                  <a:pt x="2311" y="577"/>
                  <a:pt x="2279" y="540"/>
                </a:cubicBezTo>
                <a:cubicBezTo>
                  <a:pt x="2349" y="443"/>
                  <a:pt x="2349" y="443"/>
                  <a:pt x="2349" y="443"/>
                </a:cubicBezTo>
                <a:cubicBezTo>
                  <a:pt x="2252" y="347"/>
                  <a:pt x="2252" y="347"/>
                  <a:pt x="2252" y="347"/>
                </a:cubicBezTo>
                <a:cubicBezTo>
                  <a:pt x="2156" y="416"/>
                  <a:pt x="2156" y="416"/>
                  <a:pt x="2156" y="416"/>
                </a:cubicBezTo>
                <a:cubicBezTo>
                  <a:pt x="2118" y="384"/>
                  <a:pt x="2079" y="354"/>
                  <a:pt x="2038" y="326"/>
                </a:cubicBezTo>
                <a:cubicBezTo>
                  <a:pt x="2081" y="215"/>
                  <a:pt x="2081" y="215"/>
                  <a:pt x="2081" y="215"/>
                </a:cubicBezTo>
                <a:cubicBezTo>
                  <a:pt x="1962" y="147"/>
                  <a:pt x="1962" y="147"/>
                  <a:pt x="1962" y="147"/>
                </a:cubicBezTo>
                <a:cubicBezTo>
                  <a:pt x="1887" y="239"/>
                  <a:pt x="1887" y="239"/>
                  <a:pt x="1887" y="239"/>
                </a:cubicBezTo>
                <a:cubicBezTo>
                  <a:pt x="1843" y="217"/>
                  <a:pt x="1797" y="198"/>
                  <a:pt x="1750" y="182"/>
                </a:cubicBezTo>
                <a:cubicBezTo>
                  <a:pt x="1763" y="64"/>
                  <a:pt x="1763" y="64"/>
                  <a:pt x="1763" y="64"/>
                </a:cubicBezTo>
                <a:cubicBezTo>
                  <a:pt x="1630" y="29"/>
                  <a:pt x="1630" y="29"/>
                  <a:pt x="1630" y="29"/>
                </a:cubicBezTo>
                <a:cubicBezTo>
                  <a:pt x="1582" y="137"/>
                  <a:pt x="1582" y="137"/>
                  <a:pt x="1582" y="137"/>
                </a:cubicBezTo>
                <a:cubicBezTo>
                  <a:pt x="1534" y="128"/>
                  <a:pt x="1485" y="121"/>
                  <a:pt x="1435" y="118"/>
                </a:cubicBezTo>
                <a:cubicBezTo>
                  <a:pt x="1416" y="0"/>
                  <a:pt x="1416" y="0"/>
                  <a:pt x="1416" y="0"/>
                </a:cubicBezTo>
                <a:cubicBezTo>
                  <a:pt x="1279" y="0"/>
                  <a:pt x="1279" y="0"/>
                  <a:pt x="1279" y="0"/>
                </a:cubicBezTo>
                <a:cubicBezTo>
                  <a:pt x="1260" y="118"/>
                  <a:pt x="1260" y="118"/>
                  <a:pt x="1260" y="118"/>
                </a:cubicBezTo>
                <a:cubicBezTo>
                  <a:pt x="1211" y="121"/>
                  <a:pt x="1162" y="128"/>
                  <a:pt x="1114" y="137"/>
                </a:cubicBezTo>
                <a:cubicBezTo>
                  <a:pt x="1065" y="29"/>
                  <a:pt x="1065" y="29"/>
                  <a:pt x="1065" y="29"/>
                </a:cubicBezTo>
                <a:cubicBezTo>
                  <a:pt x="933" y="64"/>
                  <a:pt x="933" y="64"/>
                  <a:pt x="933" y="64"/>
                </a:cubicBezTo>
                <a:cubicBezTo>
                  <a:pt x="945" y="182"/>
                  <a:pt x="945" y="182"/>
                  <a:pt x="945" y="182"/>
                </a:cubicBezTo>
                <a:cubicBezTo>
                  <a:pt x="898" y="198"/>
                  <a:pt x="852" y="217"/>
                  <a:pt x="808" y="239"/>
                </a:cubicBezTo>
                <a:cubicBezTo>
                  <a:pt x="733" y="147"/>
                  <a:pt x="733" y="147"/>
                  <a:pt x="733" y="147"/>
                </a:cubicBezTo>
                <a:cubicBezTo>
                  <a:pt x="615" y="215"/>
                  <a:pt x="615" y="215"/>
                  <a:pt x="615" y="215"/>
                </a:cubicBezTo>
                <a:cubicBezTo>
                  <a:pt x="657" y="326"/>
                  <a:pt x="657" y="326"/>
                  <a:pt x="657" y="326"/>
                </a:cubicBezTo>
                <a:cubicBezTo>
                  <a:pt x="616" y="354"/>
                  <a:pt x="577" y="384"/>
                  <a:pt x="540" y="416"/>
                </a:cubicBezTo>
                <a:cubicBezTo>
                  <a:pt x="443" y="347"/>
                  <a:pt x="443" y="347"/>
                  <a:pt x="443" y="347"/>
                </a:cubicBezTo>
                <a:cubicBezTo>
                  <a:pt x="347" y="443"/>
                  <a:pt x="347" y="443"/>
                  <a:pt x="347" y="443"/>
                </a:cubicBezTo>
                <a:cubicBezTo>
                  <a:pt x="416" y="540"/>
                  <a:pt x="416" y="540"/>
                  <a:pt x="416" y="540"/>
                </a:cubicBezTo>
                <a:cubicBezTo>
                  <a:pt x="384" y="577"/>
                  <a:pt x="354" y="616"/>
                  <a:pt x="326" y="657"/>
                </a:cubicBezTo>
                <a:cubicBezTo>
                  <a:pt x="215" y="615"/>
                  <a:pt x="215" y="615"/>
                  <a:pt x="215" y="615"/>
                </a:cubicBezTo>
                <a:cubicBezTo>
                  <a:pt x="147" y="733"/>
                  <a:pt x="147" y="733"/>
                  <a:pt x="147" y="733"/>
                </a:cubicBezTo>
                <a:cubicBezTo>
                  <a:pt x="239" y="808"/>
                  <a:pt x="239" y="808"/>
                  <a:pt x="239" y="808"/>
                </a:cubicBezTo>
                <a:cubicBezTo>
                  <a:pt x="217" y="852"/>
                  <a:pt x="198" y="898"/>
                  <a:pt x="182" y="945"/>
                </a:cubicBezTo>
                <a:cubicBezTo>
                  <a:pt x="64" y="933"/>
                  <a:pt x="64" y="933"/>
                  <a:pt x="64" y="933"/>
                </a:cubicBezTo>
                <a:cubicBezTo>
                  <a:pt x="29" y="1065"/>
                  <a:pt x="29" y="1065"/>
                  <a:pt x="29" y="1065"/>
                </a:cubicBezTo>
                <a:cubicBezTo>
                  <a:pt x="137" y="1114"/>
                  <a:pt x="137" y="1114"/>
                  <a:pt x="137" y="1114"/>
                </a:cubicBezTo>
                <a:cubicBezTo>
                  <a:pt x="128" y="1162"/>
                  <a:pt x="121" y="1210"/>
                  <a:pt x="118" y="1260"/>
                </a:cubicBezTo>
                <a:cubicBezTo>
                  <a:pt x="0" y="1279"/>
                  <a:pt x="0" y="1279"/>
                  <a:pt x="0" y="1279"/>
                </a:cubicBezTo>
                <a:cubicBezTo>
                  <a:pt x="0" y="1416"/>
                  <a:pt x="0" y="1416"/>
                  <a:pt x="0" y="1416"/>
                </a:cubicBezTo>
                <a:cubicBezTo>
                  <a:pt x="118" y="1435"/>
                  <a:pt x="118" y="1435"/>
                  <a:pt x="118" y="1435"/>
                </a:cubicBezTo>
                <a:cubicBezTo>
                  <a:pt x="121" y="1485"/>
                  <a:pt x="128" y="1534"/>
                  <a:pt x="137" y="1582"/>
                </a:cubicBezTo>
                <a:cubicBezTo>
                  <a:pt x="29" y="1630"/>
                  <a:pt x="29" y="1630"/>
                  <a:pt x="29" y="1630"/>
                </a:cubicBezTo>
                <a:cubicBezTo>
                  <a:pt x="64" y="1763"/>
                  <a:pt x="64" y="1763"/>
                  <a:pt x="64" y="1763"/>
                </a:cubicBezTo>
                <a:cubicBezTo>
                  <a:pt x="182" y="1750"/>
                  <a:pt x="182" y="1750"/>
                  <a:pt x="182" y="1750"/>
                </a:cubicBezTo>
                <a:cubicBezTo>
                  <a:pt x="198" y="1797"/>
                  <a:pt x="217" y="1843"/>
                  <a:pt x="239" y="1887"/>
                </a:cubicBezTo>
                <a:cubicBezTo>
                  <a:pt x="147" y="1962"/>
                  <a:pt x="147" y="1962"/>
                  <a:pt x="147" y="1962"/>
                </a:cubicBezTo>
                <a:cubicBezTo>
                  <a:pt x="215" y="2081"/>
                  <a:pt x="215" y="2081"/>
                  <a:pt x="215" y="2081"/>
                </a:cubicBezTo>
                <a:cubicBezTo>
                  <a:pt x="326" y="2038"/>
                  <a:pt x="326" y="2038"/>
                  <a:pt x="326" y="2038"/>
                </a:cubicBezTo>
                <a:cubicBezTo>
                  <a:pt x="354" y="2079"/>
                  <a:pt x="384" y="2118"/>
                  <a:pt x="416" y="2155"/>
                </a:cubicBezTo>
                <a:cubicBezTo>
                  <a:pt x="347" y="2252"/>
                  <a:pt x="347" y="2252"/>
                  <a:pt x="347" y="2252"/>
                </a:cubicBezTo>
                <a:cubicBezTo>
                  <a:pt x="443" y="2349"/>
                  <a:pt x="443" y="2349"/>
                  <a:pt x="443" y="2349"/>
                </a:cubicBezTo>
                <a:cubicBezTo>
                  <a:pt x="540" y="2279"/>
                  <a:pt x="540" y="2279"/>
                  <a:pt x="540" y="2279"/>
                </a:cubicBezTo>
                <a:cubicBezTo>
                  <a:pt x="577" y="2311"/>
                  <a:pt x="616" y="2341"/>
                  <a:pt x="657" y="2369"/>
                </a:cubicBezTo>
                <a:cubicBezTo>
                  <a:pt x="615" y="2480"/>
                  <a:pt x="615" y="2480"/>
                  <a:pt x="615" y="2480"/>
                </a:cubicBezTo>
                <a:cubicBezTo>
                  <a:pt x="733" y="2549"/>
                  <a:pt x="733" y="2549"/>
                  <a:pt x="733" y="2549"/>
                </a:cubicBezTo>
                <a:cubicBezTo>
                  <a:pt x="808" y="2457"/>
                  <a:pt x="808" y="2457"/>
                  <a:pt x="808" y="2457"/>
                </a:cubicBezTo>
                <a:cubicBezTo>
                  <a:pt x="852" y="2478"/>
                  <a:pt x="898" y="2497"/>
                  <a:pt x="945" y="2513"/>
                </a:cubicBezTo>
                <a:cubicBezTo>
                  <a:pt x="933" y="2631"/>
                  <a:pt x="933" y="2631"/>
                  <a:pt x="933" y="2631"/>
                </a:cubicBezTo>
                <a:cubicBezTo>
                  <a:pt x="1065" y="2667"/>
                  <a:pt x="1065" y="2667"/>
                  <a:pt x="1065" y="2667"/>
                </a:cubicBezTo>
                <a:cubicBezTo>
                  <a:pt x="1114" y="2558"/>
                  <a:pt x="1114" y="2558"/>
                  <a:pt x="1114" y="2558"/>
                </a:cubicBezTo>
                <a:cubicBezTo>
                  <a:pt x="1162" y="2568"/>
                  <a:pt x="1211" y="2574"/>
                  <a:pt x="1260" y="2578"/>
                </a:cubicBezTo>
                <a:cubicBezTo>
                  <a:pt x="1279" y="2695"/>
                  <a:pt x="1279" y="2695"/>
                  <a:pt x="1279" y="2695"/>
                </a:cubicBezTo>
                <a:cubicBezTo>
                  <a:pt x="1416" y="2695"/>
                  <a:pt x="1416" y="2695"/>
                  <a:pt x="1416" y="2695"/>
                </a:cubicBezTo>
                <a:cubicBezTo>
                  <a:pt x="1435" y="2578"/>
                  <a:pt x="1435" y="2578"/>
                  <a:pt x="1435" y="2578"/>
                </a:cubicBezTo>
                <a:cubicBezTo>
                  <a:pt x="1485" y="2574"/>
                  <a:pt x="1534" y="2568"/>
                  <a:pt x="1582" y="2558"/>
                </a:cubicBezTo>
                <a:cubicBezTo>
                  <a:pt x="1630" y="2667"/>
                  <a:pt x="1630" y="2667"/>
                  <a:pt x="1630" y="2667"/>
                </a:cubicBezTo>
                <a:cubicBezTo>
                  <a:pt x="1763" y="2631"/>
                  <a:pt x="1763" y="2631"/>
                  <a:pt x="1763" y="2631"/>
                </a:cubicBezTo>
                <a:cubicBezTo>
                  <a:pt x="1750" y="2513"/>
                  <a:pt x="1750" y="2513"/>
                  <a:pt x="1750" y="2513"/>
                </a:cubicBezTo>
                <a:cubicBezTo>
                  <a:pt x="1797" y="2497"/>
                  <a:pt x="1843" y="2478"/>
                  <a:pt x="1887" y="2457"/>
                </a:cubicBezTo>
                <a:cubicBezTo>
                  <a:pt x="1962" y="2549"/>
                  <a:pt x="1962" y="2549"/>
                  <a:pt x="1962" y="2549"/>
                </a:cubicBezTo>
                <a:cubicBezTo>
                  <a:pt x="2081" y="2480"/>
                  <a:pt x="2081" y="2480"/>
                  <a:pt x="2081" y="2480"/>
                </a:cubicBezTo>
                <a:cubicBezTo>
                  <a:pt x="2038" y="2369"/>
                  <a:pt x="2038" y="2369"/>
                  <a:pt x="2038" y="2369"/>
                </a:cubicBezTo>
                <a:cubicBezTo>
                  <a:pt x="2079" y="2341"/>
                  <a:pt x="2118" y="2311"/>
                  <a:pt x="2156" y="2279"/>
                </a:cubicBezTo>
                <a:cubicBezTo>
                  <a:pt x="2252" y="2349"/>
                  <a:pt x="2252" y="2349"/>
                  <a:pt x="2252" y="2349"/>
                </a:cubicBezTo>
                <a:cubicBezTo>
                  <a:pt x="2349" y="2252"/>
                  <a:pt x="2349" y="2252"/>
                  <a:pt x="2349" y="2252"/>
                </a:cubicBezTo>
                <a:cubicBezTo>
                  <a:pt x="2279" y="2155"/>
                  <a:pt x="2279" y="2155"/>
                  <a:pt x="2279" y="2155"/>
                </a:cubicBezTo>
                <a:cubicBezTo>
                  <a:pt x="2311" y="2118"/>
                  <a:pt x="2341" y="2079"/>
                  <a:pt x="2369" y="2038"/>
                </a:cubicBezTo>
                <a:cubicBezTo>
                  <a:pt x="2480" y="2081"/>
                  <a:pt x="2480" y="2081"/>
                  <a:pt x="2480" y="2081"/>
                </a:cubicBezTo>
                <a:cubicBezTo>
                  <a:pt x="2549" y="1962"/>
                  <a:pt x="2549" y="1962"/>
                  <a:pt x="2549" y="1962"/>
                </a:cubicBezTo>
                <a:cubicBezTo>
                  <a:pt x="2457" y="1887"/>
                  <a:pt x="2457" y="1887"/>
                  <a:pt x="2457" y="1887"/>
                </a:cubicBezTo>
                <a:cubicBezTo>
                  <a:pt x="2478" y="1843"/>
                  <a:pt x="2497" y="1797"/>
                  <a:pt x="2513" y="1750"/>
                </a:cubicBezTo>
                <a:cubicBezTo>
                  <a:pt x="2631" y="1763"/>
                  <a:pt x="2631" y="1763"/>
                  <a:pt x="2631" y="1763"/>
                </a:cubicBezTo>
                <a:cubicBezTo>
                  <a:pt x="2667" y="1630"/>
                  <a:pt x="2667" y="1630"/>
                  <a:pt x="2667" y="1630"/>
                </a:cubicBezTo>
                <a:cubicBezTo>
                  <a:pt x="2558" y="1582"/>
                  <a:pt x="2558" y="1582"/>
                  <a:pt x="2558" y="1582"/>
                </a:cubicBezTo>
                <a:cubicBezTo>
                  <a:pt x="2568" y="1534"/>
                  <a:pt x="2574" y="1485"/>
                  <a:pt x="2578" y="1435"/>
                </a:cubicBezTo>
                <a:lnTo>
                  <a:pt x="2695" y="1416"/>
                </a:lnTo>
                <a:close/>
                <a:moveTo>
                  <a:pt x="1348" y="2436"/>
                </a:moveTo>
                <a:cubicBezTo>
                  <a:pt x="747" y="2436"/>
                  <a:pt x="259" y="1949"/>
                  <a:pt x="259" y="1348"/>
                </a:cubicBezTo>
                <a:cubicBezTo>
                  <a:pt x="259" y="747"/>
                  <a:pt x="747" y="259"/>
                  <a:pt x="1348" y="259"/>
                </a:cubicBezTo>
                <a:cubicBezTo>
                  <a:pt x="1949" y="259"/>
                  <a:pt x="2436" y="747"/>
                  <a:pt x="2436" y="1348"/>
                </a:cubicBezTo>
                <a:cubicBezTo>
                  <a:pt x="2436" y="1949"/>
                  <a:pt x="1949" y="2436"/>
                  <a:pt x="1348" y="2436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24" name="Freeform 8"/>
          <p:cNvSpPr>
            <a:spLocks noEditPoints="1"/>
          </p:cNvSpPr>
          <p:nvPr/>
        </p:nvSpPr>
        <p:spPr bwMode="auto">
          <a:xfrm>
            <a:off x="6586870" y="2378012"/>
            <a:ext cx="1681819" cy="1682823"/>
          </a:xfrm>
          <a:custGeom>
            <a:avLst/>
            <a:gdLst>
              <a:gd name="T0" fmla="*/ 2694 w 2697"/>
              <a:gd name="T1" fmla="*/ 1253 h 2697"/>
              <a:gd name="T2" fmla="*/ 2555 w 2697"/>
              <a:gd name="T3" fmla="*/ 1090 h 2697"/>
              <a:gd name="T4" fmla="*/ 2624 w 2697"/>
              <a:gd name="T5" fmla="*/ 908 h 2697"/>
              <a:gd name="T6" fmla="*/ 2447 w 2697"/>
              <a:gd name="T7" fmla="*/ 787 h 2697"/>
              <a:gd name="T8" fmla="*/ 2466 w 2697"/>
              <a:gd name="T9" fmla="*/ 593 h 2697"/>
              <a:gd name="T10" fmla="*/ 2264 w 2697"/>
              <a:gd name="T11" fmla="*/ 522 h 2697"/>
              <a:gd name="T12" fmla="*/ 2233 w 2697"/>
              <a:gd name="T13" fmla="*/ 329 h 2697"/>
              <a:gd name="T14" fmla="*/ 2019 w 2697"/>
              <a:gd name="T15" fmla="*/ 313 h 2697"/>
              <a:gd name="T16" fmla="*/ 1939 w 2697"/>
              <a:gd name="T17" fmla="*/ 135 h 2697"/>
              <a:gd name="T18" fmla="*/ 1728 w 2697"/>
              <a:gd name="T19" fmla="*/ 175 h 2697"/>
              <a:gd name="T20" fmla="*/ 1605 w 2697"/>
              <a:gd name="T21" fmla="*/ 24 h 2697"/>
              <a:gd name="T22" fmla="*/ 1411 w 2697"/>
              <a:gd name="T23" fmla="*/ 117 h 2697"/>
              <a:gd name="T24" fmla="*/ 1253 w 2697"/>
              <a:gd name="T25" fmla="*/ 3 h 2697"/>
              <a:gd name="T26" fmla="*/ 1090 w 2697"/>
              <a:gd name="T27" fmla="*/ 143 h 2697"/>
              <a:gd name="T28" fmla="*/ 908 w 2697"/>
              <a:gd name="T29" fmla="*/ 74 h 2697"/>
              <a:gd name="T30" fmla="*/ 787 w 2697"/>
              <a:gd name="T31" fmla="*/ 251 h 2697"/>
              <a:gd name="T32" fmla="*/ 593 w 2697"/>
              <a:gd name="T33" fmla="*/ 231 h 2697"/>
              <a:gd name="T34" fmla="*/ 522 w 2697"/>
              <a:gd name="T35" fmla="*/ 433 h 2697"/>
              <a:gd name="T36" fmla="*/ 330 w 2697"/>
              <a:gd name="T37" fmla="*/ 465 h 2697"/>
              <a:gd name="T38" fmla="*/ 314 w 2697"/>
              <a:gd name="T39" fmla="*/ 679 h 2697"/>
              <a:gd name="T40" fmla="*/ 136 w 2697"/>
              <a:gd name="T41" fmla="*/ 759 h 2697"/>
              <a:gd name="T42" fmla="*/ 175 w 2697"/>
              <a:gd name="T43" fmla="*/ 969 h 2697"/>
              <a:gd name="T44" fmla="*/ 24 w 2697"/>
              <a:gd name="T45" fmla="*/ 1093 h 2697"/>
              <a:gd name="T46" fmla="*/ 117 w 2697"/>
              <a:gd name="T47" fmla="*/ 1286 h 2697"/>
              <a:gd name="T48" fmla="*/ 3 w 2697"/>
              <a:gd name="T49" fmla="*/ 1444 h 2697"/>
              <a:gd name="T50" fmla="*/ 143 w 2697"/>
              <a:gd name="T51" fmla="*/ 1607 h 2697"/>
              <a:gd name="T52" fmla="*/ 74 w 2697"/>
              <a:gd name="T53" fmla="*/ 1789 h 2697"/>
              <a:gd name="T54" fmla="*/ 251 w 2697"/>
              <a:gd name="T55" fmla="*/ 1910 h 2697"/>
              <a:gd name="T56" fmla="*/ 231 w 2697"/>
              <a:gd name="T57" fmla="*/ 2104 h 2697"/>
              <a:gd name="T58" fmla="*/ 434 w 2697"/>
              <a:gd name="T59" fmla="*/ 2175 h 2697"/>
              <a:gd name="T60" fmla="*/ 465 w 2697"/>
              <a:gd name="T61" fmla="*/ 2368 h 2697"/>
              <a:gd name="T62" fmla="*/ 679 w 2697"/>
              <a:gd name="T63" fmla="*/ 2384 h 2697"/>
              <a:gd name="T64" fmla="*/ 759 w 2697"/>
              <a:gd name="T65" fmla="*/ 2562 h 2697"/>
              <a:gd name="T66" fmla="*/ 969 w 2697"/>
              <a:gd name="T67" fmla="*/ 2522 h 2697"/>
              <a:gd name="T68" fmla="*/ 1093 w 2697"/>
              <a:gd name="T69" fmla="*/ 2673 h 2697"/>
              <a:gd name="T70" fmla="*/ 1286 w 2697"/>
              <a:gd name="T71" fmla="*/ 2580 h 2697"/>
              <a:gd name="T72" fmla="*/ 1444 w 2697"/>
              <a:gd name="T73" fmla="*/ 2694 h 2697"/>
              <a:gd name="T74" fmla="*/ 1607 w 2697"/>
              <a:gd name="T75" fmla="*/ 2554 h 2697"/>
              <a:gd name="T76" fmla="*/ 1789 w 2697"/>
              <a:gd name="T77" fmla="*/ 2624 h 2697"/>
              <a:gd name="T78" fmla="*/ 1910 w 2697"/>
              <a:gd name="T79" fmla="*/ 2447 h 2697"/>
              <a:gd name="T80" fmla="*/ 2104 w 2697"/>
              <a:gd name="T81" fmla="*/ 2466 h 2697"/>
              <a:gd name="T82" fmla="*/ 2175 w 2697"/>
              <a:gd name="T83" fmla="*/ 2264 h 2697"/>
              <a:gd name="T84" fmla="*/ 2368 w 2697"/>
              <a:gd name="T85" fmla="*/ 2232 h 2697"/>
              <a:gd name="T86" fmla="*/ 2384 w 2697"/>
              <a:gd name="T87" fmla="*/ 2019 h 2697"/>
              <a:gd name="T88" fmla="*/ 2562 w 2697"/>
              <a:gd name="T89" fmla="*/ 1939 h 2697"/>
              <a:gd name="T90" fmla="*/ 2522 w 2697"/>
              <a:gd name="T91" fmla="*/ 1728 h 2697"/>
              <a:gd name="T92" fmla="*/ 2673 w 2697"/>
              <a:gd name="T93" fmla="*/ 1604 h 2697"/>
              <a:gd name="T94" fmla="*/ 2580 w 2697"/>
              <a:gd name="T95" fmla="*/ 1411 h 2697"/>
              <a:gd name="T96" fmla="*/ 1371 w 2697"/>
              <a:gd name="T97" fmla="*/ 2437 h 2697"/>
              <a:gd name="T98" fmla="*/ 1327 w 2697"/>
              <a:gd name="T99" fmla="*/ 261 h 2697"/>
              <a:gd name="T100" fmla="*/ 1371 w 2697"/>
              <a:gd name="T101" fmla="*/ 2437 h 26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2697" h="2697">
                <a:moveTo>
                  <a:pt x="2697" y="1390"/>
                </a:moveTo>
                <a:cubicBezTo>
                  <a:pt x="2694" y="1253"/>
                  <a:pt x="2694" y="1253"/>
                  <a:pt x="2694" y="1253"/>
                </a:cubicBezTo>
                <a:cubicBezTo>
                  <a:pt x="2577" y="1236"/>
                  <a:pt x="2577" y="1236"/>
                  <a:pt x="2577" y="1236"/>
                </a:cubicBezTo>
                <a:cubicBezTo>
                  <a:pt x="2572" y="1187"/>
                  <a:pt x="2565" y="1138"/>
                  <a:pt x="2555" y="1090"/>
                </a:cubicBezTo>
                <a:cubicBezTo>
                  <a:pt x="2662" y="1040"/>
                  <a:pt x="2662" y="1040"/>
                  <a:pt x="2662" y="1040"/>
                </a:cubicBezTo>
                <a:cubicBezTo>
                  <a:pt x="2624" y="908"/>
                  <a:pt x="2624" y="908"/>
                  <a:pt x="2624" y="908"/>
                </a:cubicBezTo>
                <a:cubicBezTo>
                  <a:pt x="2506" y="922"/>
                  <a:pt x="2506" y="922"/>
                  <a:pt x="2506" y="922"/>
                </a:cubicBezTo>
                <a:cubicBezTo>
                  <a:pt x="2489" y="876"/>
                  <a:pt x="2469" y="831"/>
                  <a:pt x="2447" y="787"/>
                </a:cubicBezTo>
                <a:cubicBezTo>
                  <a:pt x="2537" y="710"/>
                  <a:pt x="2537" y="710"/>
                  <a:pt x="2537" y="710"/>
                </a:cubicBezTo>
                <a:cubicBezTo>
                  <a:pt x="2466" y="593"/>
                  <a:pt x="2466" y="593"/>
                  <a:pt x="2466" y="593"/>
                </a:cubicBezTo>
                <a:cubicBezTo>
                  <a:pt x="2356" y="637"/>
                  <a:pt x="2356" y="637"/>
                  <a:pt x="2356" y="637"/>
                </a:cubicBezTo>
                <a:cubicBezTo>
                  <a:pt x="2328" y="597"/>
                  <a:pt x="2297" y="559"/>
                  <a:pt x="2264" y="522"/>
                </a:cubicBezTo>
                <a:cubicBezTo>
                  <a:pt x="2331" y="424"/>
                  <a:pt x="2331" y="424"/>
                  <a:pt x="2331" y="424"/>
                </a:cubicBezTo>
                <a:cubicBezTo>
                  <a:pt x="2233" y="329"/>
                  <a:pt x="2233" y="329"/>
                  <a:pt x="2233" y="329"/>
                </a:cubicBezTo>
                <a:cubicBezTo>
                  <a:pt x="2138" y="401"/>
                  <a:pt x="2138" y="401"/>
                  <a:pt x="2138" y="401"/>
                </a:cubicBezTo>
                <a:cubicBezTo>
                  <a:pt x="2100" y="369"/>
                  <a:pt x="2060" y="340"/>
                  <a:pt x="2019" y="313"/>
                </a:cubicBezTo>
                <a:cubicBezTo>
                  <a:pt x="2059" y="202"/>
                  <a:pt x="2059" y="202"/>
                  <a:pt x="2059" y="202"/>
                </a:cubicBezTo>
                <a:cubicBezTo>
                  <a:pt x="1939" y="135"/>
                  <a:pt x="1939" y="135"/>
                  <a:pt x="1939" y="135"/>
                </a:cubicBezTo>
                <a:cubicBezTo>
                  <a:pt x="1866" y="229"/>
                  <a:pt x="1866" y="229"/>
                  <a:pt x="1866" y="229"/>
                </a:cubicBezTo>
                <a:cubicBezTo>
                  <a:pt x="1821" y="208"/>
                  <a:pt x="1775" y="190"/>
                  <a:pt x="1728" y="175"/>
                </a:cubicBezTo>
                <a:cubicBezTo>
                  <a:pt x="1738" y="57"/>
                  <a:pt x="1738" y="57"/>
                  <a:pt x="1738" y="57"/>
                </a:cubicBezTo>
                <a:cubicBezTo>
                  <a:pt x="1605" y="24"/>
                  <a:pt x="1605" y="24"/>
                  <a:pt x="1605" y="24"/>
                </a:cubicBezTo>
                <a:cubicBezTo>
                  <a:pt x="1558" y="133"/>
                  <a:pt x="1558" y="133"/>
                  <a:pt x="1558" y="133"/>
                </a:cubicBezTo>
                <a:cubicBezTo>
                  <a:pt x="1510" y="125"/>
                  <a:pt x="1461" y="120"/>
                  <a:pt x="1411" y="117"/>
                </a:cubicBezTo>
                <a:cubicBezTo>
                  <a:pt x="1390" y="0"/>
                  <a:pt x="1390" y="0"/>
                  <a:pt x="1390" y="0"/>
                </a:cubicBezTo>
                <a:cubicBezTo>
                  <a:pt x="1253" y="3"/>
                  <a:pt x="1253" y="3"/>
                  <a:pt x="1253" y="3"/>
                </a:cubicBezTo>
                <a:cubicBezTo>
                  <a:pt x="1237" y="121"/>
                  <a:pt x="1237" y="121"/>
                  <a:pt x="1237" y="121"/>
                </a:cubicBezTo>
                <a:cubicBezTo>
                  <a:pt x="1187" y="125"/>
                  <a:pt x="1138" y="133"/>
                  <a:pt x="1090" y="143"/>
                </a:cubicBezTo>
                <a:cubicBezTo>
                  <a:pt x="1040" y="35"/>
                  <a:pt x="1040" y="35"/>
                  <a:pt x="1040" y="35"/>
                </a:cubicBezTo>
                <a:cubicBezTo>
                  <a:pt x="908" y="74"/>
                  <a:pt x="908" y="74"/>
                  <a:pt x="908" y="74"/>
                </a:cubicBezTo>
                <a:cubicBezTo>
                  <a:pt x="922" y="191"/>
                  <a:pt x="922" y="191"/>
                  <a:pt x="922" y="191"/>
                </a:cubicBezTo>
                <a:cubicBezTo>
                  <a:pt x="876" y="208"/>
                  <a:pt x="831" y="228"/>
                  <a:pt x="787" y="251"/>
                </a:cubicBezTo>
                <a:cubicBezTo>
                  <a:pt x="710" y="160"/>
                  <a:pt x="710" y="160"/>
                  <a:pt x="710" y="160"/>
                </a:cubicBezTo>
                <a:cubicBezTo>
                  <a:pt x="593" y="231"/>
                  <a:pt x="593" y="231"/>
                  <a:pt x="593" y="231"/>
                </a:cubicBezTo>
                <a:cubicBezTo>
                  <a:pt x="638" y="341"/>
                  <a:pt x="638" y="341"/>
                  <a:pt x="638" y="341"/>
                </a:cubicBezTo>
                <a:cubicBezTo>
                  <a:pt x="597" y="370"/>
                  <a:pt x="559" y="401"/>
                  <a:pt x="522" y="433"/>
                </a:cubicBezTo>
                <a:cubicBezTo>
                  <a:pt x="425" y="366"/>
                  <a:pt x="425" y="366"/>
                  <a:pt x="425" y="366"/>
                </a:cubicBezTo>
                <a:cubicBezTo>
                  <a:pt x="330" y="465"/>
                  <a:pt x="330" y="465"/>
                  <a:pt x="330" y="465"/>
                </a:cubicBezTo>
                <a:cubicBezTo>
                  <a:pt x="401" y="560"/>
                  <a:pt x="401" y="560"/>
                  <a:pt x="401" y="560"/>
                </a:cubicBezTo>
                <a:cubicBezTo>
                  <a:pt x="370" y="597"/>
                  <a:pt x="340" y="637"/>
                  <a:pt x="314" y="679"/>
                </a:cubicBezTo>
                <a:cubicBezTo>
                  <a:pt x="202" y="639"/>
                  <a:pt x="202" y="639"/>
                  <a:pt x="202" y="639"/>
                </a:cubicBezTo>
                <a:cubicBezTo>
                  <a:pt x="136" y="759"/>
                  <a:pt x="136" y="759"/>
                  <a:pt x="136" y="759"/>
                </a:cubicBezTo>
                <a:cubicBezTo>
                  <a:pt x="229" y="832"/>
                  <a:pt x="229" y="832"/>
                  <a:pt x="229" y="832"/>
                </a:cubicBezTo>
                <a:cubicBezTo>
                  <a:pt x="208" y="876"/>
                  <a:pt x="190" y="922"/>
                  <a:pt x="175" y="969"/>
                </a:cubicBezTo>
                <a:cubicBezTo>
                  <a:pt x="57" y="960"/>
                  <a:pt x="57" y="960"/>
                  <a:pt x="57" y="960"/>
                </a:cubicBezTo>
                <a:cubicBezTo>
                  <a:pt x="24" y="1093"/>
                  <a:pt x="24" y="1093"/>
                  <a:pt x="24" y="1093"/>
                </a:cubicBezTo>
                <a:cubicBezTo>
                  <a:pt x="133" y="1139"/>
                  <a:pt x="133" y="1139"/>
                  <a:pt x="133" y="1139"/>
                </a:cubicBezTo>
                <a:cubicBezTo>
                  <a:pt x="125" y="1187"/>
                  <a:pt x="120" y="1236"/>
                  <a:pt x="117" y="1286"/>
                </a:cubicBezTo>
                <a:cubicBezTo>
                  <a:pt x="0" y="1307"/>
                  <a:pt x="0" y="1307"/>
                  <a:pt x="0" y="1307"/>
                </a:cubicBezTo>
                <a:cubicBezTo>
                  <a:pt x="3" y="1444"/>
                  <a:pt x="3" y="1444"/>
                  <a:pt x="3" y="1444"/>
                </a:cubicBezTo>
                <a:cubicBezTo>
                  <a:pt x="121" y="1461"/>
                  <a:pt x="121" y="1461"/>
                  <a:pt x="121" y="1461"/>
                </a:cubicBezTo>
                <a:cubicBezTo>
                  <a:pt x="125" y="1510"/>
                  <a:pt x="133" y="1559"/>
                  <a:pt x="143" y="1607"/>
                </a:cubicBezTo>
                <a:cubicBezTo>
                  <a:pt x="36" y="1658"/>
                  <a:pt x="36" y="1658"/>
                  <a:pt x="36" y="1658"/>
                </a:cubicBezTo>
                <a:cubicBezTo>
                  <a:pt x="74" y="1789"/>
                  <a:pt x="74" y="1789"/>
                  <a:pt x="74" y="1789"/>
                </a:cubicBezTo>
                <a:cubicBezTo>
                  <a:pt x="191" y="1775"/>
                  <a:pt x="191" y="1775"/>
                  <a:pt x="191" y="1775"/>
                </a:cubicBezTo>
                <a:cubicBezTo>
                  <a:pt x="209" y="1821"/>
                  <a:pt x="228" y="1866"/>
                  <a:pt x="251" y="1910"/>
                </a:cubicBezTo>
                <a:cubicBezTo>
                  <a:pt x="160" y="1987"/>
                  <a:pt x="160" y="1987"/>
                  <a:pt x="160" y="1987"/>
                </a:cubicBezTo>
                <a:cubicBezTo>
                  <a:pt x="231" y="2104"/>
                  <a:pt x="231" y="2104"/>
                  <a:pt x="231" y="2104"/>
                </a:cubicBezTo>
                <a:cubicBezTo>
                  <a:pt x="341" y="2060"/>
                  <a:pt x="341" y="2060"/>
                  <a:pt x="341" y="2060"/>
                </a:cubicBezTo>
                <a:cubicBezTo>
                  <a:pt x="370" y="2100"/>
                  <a:pt x="401" y="2138"/>
                  <a:pt x="434" y="2175"/>
                </a:cubicBezTo>
                <a:cubicBezTo>
                  <a:pt x="366" y="2273"/>
                  <a:pt x="366" y="2273"/>
                  <a:pt x="366" y="2273"/>
                </a:cubicBezTo>
                <a:cubicBezTo>
                  <a:pt x="465" y="2368"/>
                  <a:pt x="465" y="2368"/>
                  <a:pt x="465" y="2368"/>
                </a:cubicBezTo>
                <a:cubicBezTo>
                  <a:pt x="560" y="2296"/>
                  <a:pt x="560" y="2296"/>
                  <a:pt x="560" y="2296"/>
                </a:cubicBezTo>
                <a:cubicBezTo>
                  <a:pt x="598" y="2328"/>
                  <a:pt x="637" y="2357"/>
                  <a:pt x="679" y="2384"/>
                </a:cubicBezTo>
                <a:cubicBezTo>
                  <a:pt x="639" y="2496"/>
                  <a:pt x="639" y="2496"/>
                  <a:pt x="639" y="2496"/>
                </a:cubicBezTo>
                <a:cubicBezTo>
                  <a:pt x="759" y="2562"/>
                  <a:pt x="759" y="2562"/>
                  <a:pt x="759" y="2562"/>
                </a:cubicBezTo>
                <a:cubicBezTo>
                  <a:pt x="832" y="2468"/>
                  <a:pt x="832" y="2468"/>
                  <a:pt x="832" y="2468"/>
                </a:cubicBezTo>
                <a:cubicBezTo>
                  <a:pt x="876" y="2489"/>
                  <a:pt x="922" y="2507"/>
                  <a:pt x="969" y="2522"/>
                </a:cubicBezTo>
                <a:cubicBezTo>
                  <a:pt x="960" y="2640"/>
                  <a:pt x="960" y="2640"/>
                  <a:pt x="960" y="2640"/>
                </a:cubicBezTo>
                <a:cubicBezTo>
                  <a:pt x="1093" y="2673"/>
                  <a:pt x="1093" y="2673"/>
                  <a:pt x="1093" y="2673"/>
                </a:cubicBezTo>
                <a:cubicBezTo>
                  <a:pt x="1139" y="2564"/>
                  <a:pt x="1139" y="2564"/>
                  <a:pt x="1139" y="2564"/>
                </a:cubicBezTo>
                <a:cubicBezTo>
                  <a:pt x="1187" y="2572"/>
                  <a:pt x="1236" y="2577"/>
                  <a:pt x="1286" y="2580"/>
                </a:cubicBezTo>
                <a:cubicBezTo>
                  <a:pt x="1307" y="2697"/>
                  <a:pt x="1307" y="2697"/>
                  <a:pt x="1307" y="2697"/>
                </a:cubicBezTo>
                <a:cubicBezTo>
                  <a:pt x="1444" y="2694"/>
                  <a:pt x="1444" y="2694"/>
                  <a:pt x="1444" y="2694"/>
                </a:cubicBezTo>
                <a:cubicBezTo>
                  <a:pt x="1461" y="2576"/>
                  <a:pt x="1461" y="2576"/>
                  <a:pt x="1461" y="2576"/>
                </a:cubicBezTo>
                <a:cubicBezTo>
                  <a:pt x="1511" y="2572"/>
                  <a:pt x="1559" y="2565"/>
                  <a:pt x="1607" y="2554"/>
                </a:cubicBezTo>
                <a:cubicBezTo>
                  <a:pt x="1658" y="2662"/>
                  <a:pt x="1658" y="2662"/>
                  <a:pt x="1658" y="2662"/>
                </a:cubicBezTo>
                <a:cubicBezTo>
                  <a:pt x="1789" y="2624"/>
                  <a:pt x="1789" y="2624"/>
                  <a:pt x="1789" y="2624"/>
                </a:cubicBezTo>
                <a:cubicBezTo>
                  <a:pt x="1775" y="2506"/>
                  <a:pt x="1775" y="2506"/>
                  <a:pt x="1775" y="2506"/>
                </a:cubicBezTo>
                <a:cubicBezTo>
                  <a:pt x="1821" y="2489"/>
                  <a:pt x="1867" y="2469"/>
                  <a:pt x="1910" y="2447"/>
                </a:cubicBezTo>
                <a:cubicBezTo>
                  <a:pt x="1987" y="2537"/>
                  <a:pt x="1987" y="2537"/>
                  <a:pt x="1987" y="2537"/>
                </a:cubicBezTo>
                <a:cubicBezTo>
                  <a:pt x="2104" y="2466"/>
                  <a:pt x="2104" y="2466"/>
                  <a:pt x="2104" y="2466"/>
                </a:cubicBezTo>
                <a:cubicBezTo>
                  <a:pt x="2060" y="2356"/>
                  <a:pt x="2060" y="2356"/>
                  <a:pt x="2060" y="2356"/>
                </a:cubicBezTo>
                <a:cubicBezTo>
                  <a:pt x="2100" y="2327"/>
                  <a:pt x="2139" y="2297"/>
                  <a:pt x="2175" y="2264"/>
                </a:cubicBezTo>
                <a:cubicBezTo>
                  <a:pt x="2273" y="2331"/>
                  <a:pt x="2273" y="2331"/>
                  <a:pt x="2273" y="2331"/>
                </a:cubicBezTo>
                <a:cubicBezTo>
                  <a:pt x="2368" y="2232"/>
                  <a:pt x="2368" y="2232"/>
                  <a:pt x="2368" y="2232"/>
                </a:cubicBezTo>
                <a:cubicBezTo>
                  <a:pt x="2296" y="2137"/>
                  <a:pt x="2296" y="2137"/>
                  <a:pt x="2296" y="2137"/>
                </a:cubicBezTo>
                <a:cubicBezTo>
                  <a:pt x="2328" y="2100"/>
                  <a:pt x="2357" y="2060"/>
                  <a:pt x="2384" y="2019"/>
                </a:cubicBezTo>
                <a:cubicBezTo>
                  <a:pt x="2496" y="2059"/>
                  <a:pt x="2496" y="2059"/>
                  <a:pt x="2496" y="2059"/>
                </a:cubicBezTo>
                <a:cubicBezTo>
                  <a:pt x="2562" y="1939"/>
                  <a:pt x="2562" y="1939"/>
                  <a:pt x="2562" y="1939"/>
                </a:cubicBezTo>
                <a:cubicBezTo>
                  <a:pt x="2468" y="1865"/>
                  <a:pt x="2468" y="1865"/>
                  <a:pt x="2468" y="1865"/>
                </a:cubicBezTo>
                <a:cubicBezTo>
                  <a:pt x="2489" y="1821"/>
                  <a:pt x="2507" y="1775"/>
                  <a:pt x="2522" y="1728"/>
                </a:cubicBezTo>
                <a:cubicBezTo>
                  <a:pt x="2640" y="1738"/>
                  <a:pt x="2640" y="1738"/>
                  <a:pt x="2640" y="1738"/>
                </a:cubicBezTo>
                <a:cubicBezTo>
                  <a:pt x="2673" y="1604"/>
                  <a:pt x="2673" y="1604"/>
                  <a:pt x="2673" y="1604"/>
                </a:cubicBezTo>
                <a:cubicBezTo>
                  <a:pt x="2564" y="1558"/>
                  <a:pt x="2564" y="1558"/>
                  <a:pt x="2564" y="1558"/>
                </a:cubicBezTo>
                <a:cubicBezTo>
                  <a:pt x="2572" y="1510"/>
                  <a:pt x="2578" y="1461"/>
                  <a:pt x="2580" y="1411"/>
                </a:cubicBezTo>
                <a:lnTo>
                  <a:pt x="2697" y="1390"/>
                </a:lnTo>
                <a:close/>
                <a:moveTo>
                  <a:pt x="1371" y="2437"/>
                </a:moveTo>
                <a:cubicBezTo>
                  <a:pt x="770" y="2449"/>
                  <a:pt x="273" y="1971"/>
                  <a:pt x="261" y="1370"/>
                </a:cubicBezTo>
                <a:cubicBezTo>
                  <a:pt x="249" y="770"/>
                  <a:pt x="726" y="273"/>
                  <a:pt x="1327" y="261"/>
                </a:cubicBezTo>
                <a:cubicBezTo>
                  <a:pt x="1928" y="248"/>
                  <a:pt x="2425" y="726"/>
                  <a:pt x="2437" y="1327"/>
                </a:cubicBezTo>
                <a:cubicBezTo>
                  <a:pt x="2449" y="1928"/>
                  <a:pt x="1971" y="2424"/>
                  <a:pt x="1371" y="2437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25" name="Freeform 9"/>
          <p:cNvSpPr>
            <a:spLocks noEditPoints="1"/>
          </p:cNvSpPr>
          <p:nvPr/>
        </p:nvSpPr>
        <p:spPr bwMode="auto">
          <a:xfrm>
            <a:off x="5160236" y="1562219"/>
            <a:ext cx="1678806" cy="1679808"/>
          </a:xfrm>
          <a:custGeom>
            <a:avLst/>
            <a:gdLst>
              <a:gd name="T0" fmla="*/ 2689 w 2691"/>
              <a:gd name="T1" fmla="*/ 1466 h 2691"/>
              <a:gd name="T2" fmla="*/ 2577 w 2691"/>
              <a:gd name="T3" fmla="*/ 1283 h 2691"/>
              <a:gd name="T4" fmla="*/ 2675 w 2691"/>
              <a:gd name="T5" fmla="*/ 1114 h 2691"/>
              <a:gd name="T6" fmla="*/ 2519 w 2691"/>
              <a:gd name="T7" fmla="*/ 966 h 2691"/>
              <a:gd name="T8" fmla="*/ 2569 w 2691"/>
              <a:gd name="T9" fmla="*/ 778 h 2691"/>
              <a:gd name="T10" fmla="*/ 2381 w 2691"/>
              <a:gd name="T11" fmla="*/ 676 h 2691"/>
              <a:gd name="T12" fmla="*/ 2381 w 2691"/>
              <a:gd name="T13" fmla="*/ 481 h 2691"/>
              <a:gd name="T14" fmla="*/ 2172 w 2691"/>
              <a:gd name="T15" fmla="*/ 431 h 2691"/>
              <a:gd name="T16" fmla="*/ 2122 w 2691"/>
              <a:gd name="T17" fmla="*/ 242 h 2691"/>
              <a:gd name="T18" fmla="*/ 1907 w 2691"/>
              <a:gd name="T19" fmla="*/ 248 h 2691"/>
              <a:gd name="T20" fmla="*/ 1809 w 2691"/>
              <a:gd name="T21" fmla="*/ 79 h 2691"/>
              <a:gd name="T22" fmla="*/ 1604 w 2691"/>
              <a:gd name="T23" fmla="*/ 140 h 2691"/>
              <a:gd name="T24" fmla="*/ 1466 w 2691"/>
              <a:gd name="T25" fmla="*/ 2 h 2691"/>
              <a:gd name="T26" fmla="*/ 1283 w 2691"/>
              <a:gd name="T27" fmla="*/ 114 h 2691"/>
              <a:gd name="T28" fmla="*/ 1114 w 2691"/>
              <a:gd name="T29" fmla="*/ 17 h 2691"/>
              <a:gd name="T30" fmla="*/ 966 w 2691"/>
              <a:gd name="T31" fmla="*/ 172 h 2691"/>
              <a:gd name="T32" fmla="*/ 778 w 2691"/>
              <a:gd name="T33" fmla="*/ 122 h 2691"/>
              <a:gd name="T34" fmla="*/ 676 w 2691"/>
              <a:gd name="T35" fmla="*/ 311 h 2691"/>
              <a:gd name="T36" fmla="*/ 481 w 2691"/>
              <a:gd name="T37" fmla="*/ 311 h 2691"/>
              <a:gd name="T38" fmla="*/ 431 w 2691"/>
              <a:gd name="T39" fmla="*/ 519 h 2691"/>
              <a:gd name="T40" fmla="*/ 242 w 2691"/>
              <a:gd name="T41" fmla="*/ 570 h 2691"/>
              <a:gd name="T42" fmla="*/ 248 w 2691"/>
              <a:gd name="T43" fmla="*/ 784 h 2691"/>
              <a:gd name="T44" fmla="*/ 79 w 2691"/>
              <a:gd name="T45" fmla="*/ 882 h 2691"/>
              <a:gd name="T46" fmla="*/ 140 w 2691"/>
              <a:gd name="T47" fmla="*/ 1088 h 2691"/>
              <a:gd name="T48" fmla="*/ 2 w 2691"/>
              <a:gd name="T49" fmla="*/ 1226 h 2691"/>
              <a:gd name="T50" fmla="*/ 114 w 2691"/>
              <a:gd name="T51" fmla="*/ 1408 h 2691"/>
              <a:gd name="T52" fmla="*/ 17 w 2691"/>
              <a:gd name="T53" fmla="*/ 1578 h 2691"/>
              <a:gd name="T54" fmla="*/ 172 w 2691"/>
              <a:gd name="T55" fmla="*/ 1725 h 2691"/>
              <a:gd name="T56" fmla="*/ 122 w 2691"/>
              <a:gd name="T57" fmla="*/ 1914 h 2691"/>
              <a:gd name="T58" fmla="*/ 311 w 2691"/>
              <a:gd name="T59" fmla="*/ 2016 h 2691"/>
              <a:gd name="T60" fmla="*/ 311 w 2691"/>
              <a:gd name="T61" fmla="*/ 2211 h 2691"/>
              <a:gd name="T62" fmla="*/ 519 w 2691"/>
              <a:gd name="T63" fmla="*/ 2261 h 2691"/>
              <a:gd name="T64" fmla="*/ 570 w 2691"/>
              <a:gd name="T65" fmla="*/ 2449 h 2691"/>
              <a:gd name="T66" fmla="*/ 784 w 2691"/>
              <a:gd name="T67" fmla="*/ 2444 h 2691"/>
              <a:gd name="T68" fmla="*/ 882 w 2691"/>
              <a:gd name="T69" fmla="*/ 2613 h 2691"/>
              <a:gd name="T70" fmla="*/ 1087 w 2691"/>
              <a:gd name="T71" fmla="*/ 2551 h 2691"/>
              <a:gd name="T72" fmla="*/ 1226 w 2691"/>
              <a:gd name="T73" fmla="*/ 2689 h 2691"/>
              <a:gd name="T74" fmla="*/ 1408 w 2691"/>
              <a:gd name="T75" fmla="*/ 2577 h 2691"/>
              <a:gd name="T76" fmla="*/ 1577 w 2691"/>
              <a:gd name="T77" fmla="*/ 2675 h 2691"/>
              <a:gd name="T78" fmla="*/ 1725 w 2691"/>
              <a:gd name="T79" fmla="*/ 2519 h 2691"/>
              <a:gd name="T80" fmla="*/ 1914 w 2691"/>
              <a:gd name="T81" fmla="*/ 2569 h 2691"/>
              <a:gd name="T82" fmla="*/ 2016 w 2691"/>
              <a:gd name="T83" fmla="*/ 2381 h 2691"/>
              <a:gd name="T84" fmla="*/ 2211 w 2691"/>
              <a:gd name="T85" fmla="*/ 2381 h 2691"/>
              <a:gd name="T86" fmla="*/ 2261 w 2691"/>
              <a:gd name="T87" fmla="*/ 2172 h 2691"/>
              <a:gd name="T88" fmla="*/ 2449 w 2691"/>
              <a:gd name="T89" fmla="*/ 2122 h 2691"/>
              <a:gd name="T90" fmla="*/ 2444 w 2691"/>
              <a:gd name="T91" fmla="*/ 1907 h 2691"/>
              <a:gd name="T92" fmla="*/ 2612 w 2691"/>
              <a:gd name="T93" fmla="*/ 1810 h 2691"/>
              <a:gd name="T94" fmla="*/ 2551 w 2691"/>
              <a:gd name="T95" fmla="*/ 1604 h 2691"/>
              <a:gd name="T96" fmla="*/ 1194 w 2691"/>
              <a:gd name="T97" fmla="*/ 2423 h 2691"/>
              <a:gd name="T98" fmla="*/ 1498 w 2691"/>
              <a:gd name="T99" fmla="*/ 268 h 2691"/>
              <a:gd name="T100" fmla="*/ 1194 w 2691"/>
              <a:gd name="T101" fmla="*/ 2423 h 26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2691" h="2691">
                <a:moveTo>
                  <a:pt x="2670" y="1602"/>
                </a:moveTo>
                <a:cubicBezTo>
                  <a:pt x="2689" y="1466"/>
                  <a:pt x="2689" y="1466"/>
                  <a:pt x="2689" y="1466"/>
                </a:cubicBezTo>
                <a:cubicBezTo>
                  <a:pt x="2576" y="1431"/>
                  <a:pt x="2576" y="1431"/>
                  <a:pt x="2576" y="1431"/>
                </a:cubicBezTo>
                <a:cubicBezTo>
                  <a:pt x="2579" y="1381"/>
                  <a:pt x="2580" y="1332"/>
                  <a:pt x="2577" y="1283"/>
                </a:cubicBezTo>
                <a:cubicBezTo>
                  <a:pt x="2691" y="1250"/>
                  <a:pt x="2691" y="1250"/>
                  <a:pt x="2691" y="1250"/>
                </a:cubicBezTo>
                <a:cubicBezTo>
                  <a:pt x="2675" y="1114"/>
                  <a:pt x="2675" y="1114"/>
                  <a:pt x="2675" y="1114"/>
                </a:cubicBezTo>
                <a:cubicBezTo>
                  <a:pt x="2556" y="1110"/>
                  <a:pt x="2556" y="1110"/>
                  <a:pt x="2556" y="1110"/>
                </a:cubicBezTo>
                <a:cubicBezTo>
                  <a:pt x="2547" y="1061"/>
                  <a:pt x="2534" y="1013"/>
                  <a:pt x="2519" y="966"/>
                </a:cubicBezTo>
                <a:cubicBezTo>
                  <a:pt x="2621" y="905"/>
                  <a:pt x="2621" y="905"/>
                  <a:pt x="2621" y="905"/>
                </a:cubicBezTo>
                <a:cubicBezTo>
                  <a:pt x="2569" y="778"/>
                  <a:pt x="2569" y="778"/>
                  <a:pt x="2569" y="778"/>
                </a:cubicBezTo>
                <a:cubicBezTo>
                  <a:pt x="2454" y="804"/>
                  <a:pt x="2454" y="804"/>
                  <a:pt x="2454" y="804"/>
                </a:cubicBezTo>
                <a:cubicBezTo>
                  <a:pt x="2432" y="760"/>
                  <a:pt x="2408" y="717"/>
                  <a:pt x="2381" y="676"/>
                </a:cubicBezTo>
                <a:cubicBezTo>
                  <a:pt x="2463" y="590"/>
                  <a:pt x="2463" y="590"/>
                  <a:pt x="2463" y="590"/>
                </a:cubicBezTo>
                <a:cubicBezTo>
                  <a:pt x="2381" y="481"/>
                  <a:pt x="2381" y="481"/>
                  <a:pt x="2381" y="481"/>
                </a:cubicBezTo>
                <a:cubicBezTo>
                  <a:pt x="2276" y="536"/>
                  <a:pt x="2276" y="536"/>
                  <a:pt x="2276" y="536"/>
                </a:cubicBezTo>
                <a:cubicBezTo>
                  <a:pt x="2243" y="499"/>
                  <a:pt x="2209" y="464"/>
                  <a:pt x="2172" y="431"/>
                </a:cubicBezTo>
                <a:cubicBezTo>
                  <a:pt x="2230" y="327"/>
                  <a:pt x="2230" y="327"/>
                  <a:pt x="2230" y="327"/>
                </a:cubicBezTo>
                <a:cubicBezTo>
                  <a:pt x="2122" y="242"/>
                  <a:pt x="2122" y="242"/>
                  <a:pt x="2122" y="242"/>
                </a:cubicBezTo>
                <a:cubicBezTo>
                  <a:pt x="2034" y="323"/>
                  <a:pt x="2034" y="323"/>
                  <a:pt x="2034" y="323"/>
                </a:cubicBezTo>
                <a:cubicBezTo>
                  <a:pt x="1994" y="295"/>
                  <a:pt x="1951" y="270"/>
                  <a:pt x="1907" y="248"/>
                </a:cubicBezTo>
                <a:cubicBezTo>
                  <a:pt x="1936" y="133"/>
                  <a:pt x="1936" y="133"/>
                  <a:pt x="1936" y="133"/>
                </a:cubicBezTo>
                <a:cubicBezTo>
                  <a:pt x="1809" y="79"/>
                  <a:pt x="1809" y="79"/>
                  <a:pt x="1809" y="79"/>
                </a:cubicBezTo>
                <a:cubicBezTo>
                  <a:pt x="1746" y="180"/>
                  <a:pt x="1746" y="180"/>
                  <a:pt x="1746" y="180"/>
                </a:cubicBezTo>
                <a:cubicBezTo>
                  <a:pt x="1700" y="164"/>
                  <a:pt x="1653" y="151"/>
                  <a:pt x="1604" y="140"/>
                </a:cubicBezTo>
                <a:cubicBezTo>
                  <a:pt x="1602" y="21"/>
                  <a:pt x="1602" y="21"/>
                  <a:pt x="1602" y="21"/>
                </a:cubicBezTo>
                <a:cubicBezTo>
                  <a:pt x="1466" y="2"/>
                  <a:pt x="1466" y="2"/>
                  <a:pt x="1466" y="2"/>
                </a:cubicBezTo>
                <a:cubicBezTo>
                  <a:pt x="1431" y="116"/>
                  <a:pt x="1431" y="116"/>
                  <a:pt x="1431" y="116"/>
                </a:cubicBezTo>
                <a:cubicBezTo>
                  <a:pt x="1381" y="112"/>
                  <a:pt x="1332" y="112"/>
                  <a:pt x="1283" y="114"/>
                </a:cubicBezTo>
                <a:cubicBezTo>
                  <a:pt x="1250" y="0"/>
                  <a:pt x="1250" y="0"/>
                  <a:pt x="1250" y="0"/>
                </a:cubicBezTo>
                <a:cubicBezTo>
                  <a:pt x="1114" y="17"/>
                  <a:pt x="1114" y="17"/>
                  <a:pt x="1114" y="17"/>
                </a:cubicBezTo>
                <a:cubicBezTo>
                  <a:pt x="1109" y="135"/>
                  <a:pt x="1109" y="135"/>
                  <a:pt x="1109" y="135"/>
                </a:cubicBezTo>
                <a:cubicBezTo>
                  <a:pt x="1061" y="145"/>
                  <a:pt x="1013" y="157"/>
                  <a:pt x="966" y="172"/>
                </a:cubicBezTo>
                <a:cubicBezTo>
                  <a:pt x="905" y="71"/>
                  <a:pt x="905" y="71"/>
                  <a:pt x="905" y="71"/>
                </a:cubicBezTo>
                <a:cubicBezTo>
                  <a:pt x="778" y="122"/>
                  <a:pt x="778" y="122"/>
                  <a:pt x="778" y="122"/>
                </a:cubicBezTo>
                <a:cubicBezTo>
                  <a:pt x="804" y="238"/>
                  <a:pt x="804" y="238"/>
                  <a:pt x="804" y="238"/>
                </a:cubicBezTo>
                <a:cubicBezTo>
                  <a:pt x="760" y="260"/>
                  <a:pt x="717" y="284"/>
                  <a:pt x="676" y="311"/>
                </a:cubicBezTo>
                <a:cubicBezTo>
                  <a:pt x="590" y="228"/>
                  <a:pt x="590" y="228"/>
                  <a:pt x="590" y="228"/>
                </a:cubicBezTo>
                <a:cubicBezTo>
                  <a:pt x="481" y="311"/>
                  <a:pt x="481" y="311"/>
                  <a:pt x="481" y="311"/>
                </a:cubicBezTo>
                <a:cubicBezTo>
                  <a:pt x="536" y="416"/>
                  <a:pt x="536" y="416"/>
                  <a:pt x="536" y="416"/>
                </a:cubicBezTo>
                <a:cubicBezTo>
                  <a:pt x="499" y="448"/>
                  <a:pt x="464" y="483"/>
                  <a:pt x="431" y="519"/>
                </a:cubicBezTo>
                <a:cubicBezTo>
                  <a:pt x="327" y="462"/>
                  <a:pt x="327" y="462"/>
                  <a:pt x="327" y="462"/>
                </a:cubicBezTo>
                <a:cubicBezTo>
                  <a:pt x="242" y="570"/>
                  <a:pt x="242" y="570"/>
                  <a:pt x="242" y="570"/>
                </a:cubicBezTo>
                <a:cubicBezTo>
                  <a:pt x="323" y="657"/>
                  <a:pt x="323" y="657"/>
                  <a:pt x="323" y="657"/>
                </a:cubicBezTo>
                <a:cubicBezTo>
                  <a:pt x="295" y="698"/>
                  <a:pt x="270" y="740"/>
                  <a:pt x="248" y="784"/>
                </a:cubicBezTo>
                <a:cubicBezTo>
                  <a:pt x="133" y="756"/>
                  <a:pt x="133" y="756"/>
                  <a:pt x="133" y="756"/>
                </a:cubicBezTo>
                <a:cubicBezTo>
                  <a:pt x="79" y="882"/>
                  <a:pt x="79" y="882"/>
                  <a:pt x="79" y="882"/>
                </a:cubicBezTo>
                <a:cubicBezTo>
                  <a:pt x="179" y="945"/>
                  <a:pt x="179" y="945"/>
                  <a:pt x="179" y="945"/>
                </a:cubicBezTo>
                <a:cubicBezTo>
                  <a:pt x="164" y="991"/>
                  <a:pt x="150" y="1039"/>
                  <a:pt x="140" y="1088"/>
                </a:cubicBezTo>
                <a:cubicBezTo>
                  <a:pt x="21" y="1090"/>
                  <a:pt x="21" y="1090"/>
                  <a:pt x="21" y="1090"/>
                </a:cubicBezTo>
                <a:cubicBezTo>
                  <a:pt x="2" y="1226"/>
                  <a:pt x="2" y="1226"/>
                  <a:pt x="2" y="1226"/>
                </a:cubicBezTo>
                <a:cubicBezTo>
                  <a:pt x="116" y="1261"/>
                  <a:pt x="116" y="1261"/>
                  <a:pt x="116" y="1261"/>
                </a:cubicBezTo>
                <a:cubicBezTo>
                  <a:pt x="112" y="1311"/>
                  <a:pt x="112" y="1360"/>
                  <a:pt x="114" y="1408"/>
                </a:cubicBezTo>
                <a:cubicBezTo>
                  <a:pt x="0" y="1441"/>
                  <a:pt x="0" y="1441"/>
                  <a:pt x="0" y="1441"/>
                </a:cubicBezTo>
                <a:cubicBezTo>
                  <a:pt x="17" y="1578"/>
                  <a:pt x="17" y="1578"/>
                  <a:pt x="17" y="1578"/>
                </a:cubicBezTo>
                <a:cubicBezTo>
                  <a:pt x="135" y="1582"/>
                  <a:pt x="135" y="1582"/>
                  <a:pt x="135" y="1582"/>
                </a:cubicBezTo>
                <a:cubicBezTo>
                  <a:pt x="145" y="1631"/>
                  <a:pt x="157" y="1678"/>
                  <a:pt x="172" y="1725"/>
                </a:cubicBezTo>
                <a:cubicBezTo>
                  <a:pt x="71" y="1786"/>
                  <a:pt x="71" y="1786"/>
                  <a:pt x="71" y="1786"/>
                </a:cubicBezTo>
                <a:cubicBezTo>
                  <a:pt x="122" y="1914"/>
                  <a:pt x="122" y="1914"/>
                  <a:pt x="122" y="1914"/>
                </a:cubicBezTo>
                <a:cubicBezTo>
                  <a:pt x="238" y="1887"/>
                  <a:pt x="238" y="1887"/>
                  <a:pt x="238" y="1887"/>
                </a:cubicBezTo>
                <a:cubicBezTo>
                  <a:pt x="260" y="1932"/>
                  <a:pt x="284" y="1974"/>
                  <a:pt x="311" y="2016"/>
                </a:cubicBezTo>
                <a:cubicBezTo>
                  <a:pt x="228" y="2101"/>
                  <a:pt x="228" y="2101"/>
                  <a:pt x="228" y="2101"/>
                </a:cubicBezTo>
                <a:cubicBezTo>
                  <a:pt x="311" y="2211"/>
                  <a:pt x="311" y="2211"/>
                  <a:pt x="311" y="2211"/>
                </a:cubicBezTo>
                <a:cubicBezTo>
                  <a:pt x="416" y="2156"/>
                  <a:pt x="416" y="2156"/>
                  <a:pt x="416" y="2156"/>
                </a:cubicBezTo>
                <a:cubicBezTo>
                  <a:pt x="448" y="2193"/>
                  <a:pt x="483" y="2228"/>
                  <a:pt x="519" y="2261"/>
                </a:cubicBezTo>
                <a:cubicBezTo>
                  <a:pt x="462" y="2365"/>
                  <a:pt x="462" y="2365"/>
                  <a:pt x="462" y="2365"/>
                </a:cubicBezTo>
                <a:cubicBezTo>
                  <a:pt x="570" y="2449"/>
                  <a:pt x="570" y="2449"/>
                  <a:pt x="570" y="2449"/>
                </a:cubicBezTo>
                <a:cubicBezTo>
                  <a:pt x="657" y="2369"/>
                  <a:pt x="657" y="2369"/>
                  <a:pt x="657" y="2369"/>
                </a:cubicBezTo>
                <a:cubicBezTo>
                  <a:pt x="698" y="2396"/>
                  <a:pt x="740" y="2421"/>
                  <a:pt x="784" y="2444"/>
                </a:cubicBezTo>
                <a:cubicBezTo>
                  <a:pt x="756" y="2559"/>
                  <a:pt x="756" y="2559"/>
                  <a:pt x="756" y="2559"/>
                </a:cubicBezTo>
                <a:cubicBezTo>
                  <a:pt x="882" y="2613"/>
                  <a:pt x="882" y="2613"/>
                  <a:pt x="882" y="2613"/>
                </a:cubicBezTo>
                <a:cubicBezTo>
                  <a:pt x="945" y="2512"/>
                  <a:pt x="945" y="2512"/>
                  <a:pt x="945" y="2512"/>
                </a:cubicBezTo>
                <a:cubicBezTo>
                  <a:pt x="991" y="2528"/>
                  <a:pt x="1039" y="2541"/>
                  <a:pt x="1087" y="2551"/>
                </a:cubicBezTo>
                <a:cubicBezTo>
                  <a:pt x="1090" y="2670"/>
                  <a:pt x="1090" y="2670"/>
                  <a:pt x="1090" y="2670"/>
                </a:cubicBezTo>
                <a:cubicBezTo>
                  <a:pt x="1226" y="2689"/>
                  <a:pt x="1226" y="2689"/>
                  <a:pt x="1226" y="2689"/>
                </a:cubicBezTo>
                <a:cubicBezTo>
                  <a:pt x="1261" y="2576"/>
                  <a:pt x="1261" y="2576"/>
                  <a:pt x="1261" y="2576"/>
                </a:cubicBezTo>
                <a:cubicBezTo>
                  <a:pt x="1310" y="2579"/>
                  <a:pt x="1360" y="2580"/>
                  <a:pt x="1408" y="2577"/>
                </a:cubicBezTo>
                <a:cubicBezTo>
                  <a:pt x="1441" y="2691"/>
                  <a:pt x="1441" y="2691"/>
                  <a:pt x="1441" y="2691"/>
                </a:cubicBezTo>
                <a:cubicBezTo>
                  <a:pt x="1577" y="2675"/>
                  <a:pt x="1577" y="2675"/>
                  <a:pt x="1577" y="2675"/>
                </a:cubicBezTo>
                <a:cubicBezTo>
                  <a:pt x="1582" y="2556"/>
                  <a:pt x="1582" y="2556"/>
                  <a:pt x="1582" y="2556"/>
                </a:cubicBezTo>
                <a:cubicBezTo>
                  <a:pt x="1631" y="2547"/>
                  <a:pt x="1678" y="2534"/>
                  <a:pt x="1725" y="2519"/>
                </a:cubicBezTo>
                <a:cubicBezTo>
                  <a:pt x="1786" y="2621"/>
                  <a:pt x="1786" y="2621"/>
                  <a:pt x="1786" y="2621"/>
                </a:cubicBezTo>
                <a:cubicBezTo>
                  <a:pt x="1914" y="2569"/>
                  <a:pt x="1914" y="2569"/>
                  <a:pt x="1914" y="2569"/>
                </a:cubicBezTo>
                <a:cubicBezTo>
                  <a:pt x="1887" y="2454"/>
                  <a:pt x="1887" y="2454"/>
                  <a:pt x="1887" y="2454"/>
                </a:cubicBezTo>
                <a:cubicBezTo>
                  <a:pt x="1931" y="2432"/>
                  <a:pt x="1974" y="2408"/>
                  <a:pt x="2016" y="2381"/>
                </a:cubicBezTo>
                <a:cubicBezTo>
                  <a:pt x="2101" y="2463"/>
                  <a:pt x="2101" y="2463"/>
                  <a:pt x="2101" y="2463"/>
                </a:cubicBezTo>
                <a:cubicBezTo>
                  <a:pt x="2211" y="2381"/>
                  <a:pt x="2211" y="2381"/>
                  <a:pt x="2211" y="2381"/>
                </a:cubicBezTo>
                <a:cubicBezTo>
                  <a:pt x="2155" y="2276"/>
                  <a:pt x="2155" y="2276"/>
                  <a:pt x="2155" y="2276"/>
                </a:cubicBezTo>
                <a:cubicBezTo>
                  <a:pt x="2193" y="2243"/>
                  <a:pt x="2228" y="2209"/>
                  <a:pt x="2261" y="2172"/>
                </a:cubicBezTo>
                <a:cubicBezTo>
                  <a:pt x="2365" y="2230"/>
                  <a:pt x="2365" y="2230"/>
                  <a:pt x="2365" y="2230"/>
                </a:cubicBezTo>
                <a:cubicBezTo>
                  <a:pt x="2449" y="2122"/>
                  <a:pt x="2449" y="2122"/>
                  <a:pt x="2449" y="2122"/>
                </a:cubicBezTo>
                <a:cubicBezTo>
                  <a:pt x="2369" y="2035"/>
                  <a:pt x="2369" y="2035"/>
                  <a:pt x="2369" y="2035"/>
                </a:cubicBezTo>
                <a:cubicBezTo>
                  <a:pt x="2396" y="1994"/>
                  <a:pt x="2421" y="1951"/>
                  <a:pt x="2444" y="1907"/>
                </a:cubicBezTo>
                <a:cubicBezTo>
                  <a:pt x="2559" y="1936"/>
                  <a:pt x="2559" y="1936"/>
                  <a:pt x="2559" y="1936"/>
                </a:cubicBezTo>
                <a:cubicBezTo>
                  <a:pt x="2612" y="1810"/>
                  <a:pt x="2612" y="1810"/>
                  <a:pt x="2612" y="1810"/>
                </a:cubicBezTo>
                <a:cubicBezTo>
                  <a:pt x="2512" y="1746"/>
                  <a:pt x="2512" y="1746"/>
                  <a:pt x="2512" y="1746"/>
                </a:cubicBezTo>
                <a:cubicBezTo>
                  <a:pt x="2528" y="1700"/>
                  <a:pt x="2541" y="1653"/>
                  <a:pt x="2551" y="1604"/>
                </a:cubicBezTo>
                <a:lnTo>
                  <a:pt x="2670" y="1602"/>
                </a:lnTo>
                <a:close/>
                <a:moveTo>
                  <a:pt x="1194" y="2423"/>
                </a:moveTo>
                <a:cubicBezTo>
                  <a:pt x="599" y="2340"/>
                  <a:pt x="184" y="1789"/>
                  <a:pt x="268" y="1194"/>
                </a:cubicBezTo>
                <a:cubicBezTo>
                  <a:pt x="352" y="599"/>
                  <a:pt x="902" y="184"/>
                  <a:pt x="1498" y="268"/>
                </a:cubicBezTo>
                <a:cubicBezTo>
                  <a:pt x="2093" y="352"/>
                  <a:pt x="2507" y="903"/>
                  <a:pt x="2423" y="1498"/>
                </a:cubicBezTo>
                <a:cubicBezTo>
                  <a:pt x="2339" y="2093"/>
                  <a:pt x="1789" y="2507"/>
                  <a:pt x="1194" y="2423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>
              <a:solidFill>
                <a:prstClr val="black"/>
              </a:solidFill>
              <a:latin typeface="Calibri" panose="020F0502020204030204"/>
            </a:endParaRPr>
          </a:p>
        </p:txBody>
      </p:sp>
      <p:cxnSp>
        <p:nvCxnSpPr>
          <p:cNvPr id="27" name="Straight Arrow Connector 26"/>
          <p:cNvCxnSpPr/>
          <p:nvPr/>
        </p:nvCxnSpPr>
        <p:spPr>
          <a:xfrm>
            <a:off x="3143861" y="3274304"/>
            <a:ext cx="0" cy="229054"/>
          </a:xfrm>
          <a:prstGeom prst="straightConnector1">
            <a:avLst/>
          </a:prstGeom>
          <a:ln w="12700">
            <a:solidFill>
              <a:schemeClr val="accent5"/>
            </a:solidFill>
            <a:headEnd type="none" w="lg" len="lg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Arrow Connector 28"/>
          <p:cNvCxnSpPr/>
          <p:nvPr/>
        </p:nvCxnSpPr>
        <p:spPr>
          <a:xfrm>
            <a:off x="5999639" y="3274304"/>
            <a:ext cx="0" cy="229054"/>
          </a:xfrm>
          <a:prstGeom prst="straightConnector1">
            <a:avLst/>
          </a:prstGeom>
          <a:ln w="12700">
            <a:solidFill>
              <a:schemeClr val="accent5"/>
            </a:solidFill>
            <a:headEnd type="none" w="lg" len="lg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itle 2"/>
          <p:cNvSpPr txBox="1">
            <a:spLocks/>
          </p:cNvSpPr>
          <p:nvPr/>
        </p:nvSpPr>
        <p:spPr>
          <a:xfrm>
            <a:off x="3909325" y="3037737"/>
            <a:ext cx="1321321" cy="615553"/>
          </a:xfrm>
          <a:prstGeom prst="rect">
            <a:avLst/>
          </a:prstGeom>
          <a:ln>
            <a:noFill/>
          </a:ln>
        </p:spPr>
        <p:txBody>
          <a:bodyPr wrap="square" lIns="0" tIns="0" rIns="0" bIns="0">
            <a:spAutoFit/>
          </a:bodyPr>
          <a:lstStyle>
            <a:lvl1pPr algn="ctr" defTabSz="18288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6000" b="1" kern="1200" cap="none" spc="-10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defTabSz="1371600"/>
            <a:r>
              <a:rPr lang="en-US" sz="800" cap="all" spc="20" dirty="0">
                <a:solidFill>
                  <a:srgbClr val="6E7378"/>
                </a:solidFill>
                <a:latin typeface="Lato" panose="020F0502020204030203" pitchFamily="34" charset="0"/>
              </a:rPr>
              <a:t>Dev e </a:t>
            </a:r>
            <a:r>
              <a:rPr lang="en-US" sz="800" cap="all" spc="20" dirty="0" err="1">
                <a:solidFill>
                  <a:srgbClr val="6E7378"/>
                </a:solidFill>
                <a:latin typeface="Lato" panose="020F0502020204030203" pitchFamily="34" charset="0"/>
              </a:rPr>
              <a:t>Homologação</a:t>
            </a:r>
            <a:r>
              <a:rPr lang="en-US" sz="800" cap="all" spc="20" dirty="0">
                <a:solidFill>
                  <a:srgbClr val="6E7378"/>
                </a:solidFill>
                <a:latin typeface="Lato" panose="020F0502020204030203" pitchFamily="34" charset="0"/>
              </a:rPr>
              <a:t> </a:t>
            </a:r>
            <a:r>
              <a:rPr lang="en-US" sz="800" cap="all" spc="20" dirty="0" err="1">
                <a:solidFill>
                  <a:srgbClr val="6E7378"/>
                </a:solidFill>
                <a:latin typeface="Lato" panose="020F0502020204030203" pitchFamily="34" charset="0"/>
              </a:rPr>
              <a:t>juntos</a:t>
            </a:r>
            <a:r>
              <a:rPr lang="en-US" sz="800" cap="all" spc="20" dirty="0">
                <a:solidFill>
                  <a:srgbClr val="6E7378"/>
                </a:solidFill>
                <a:latin typeface="Lato" panose="020F0502020204030203" pitchFamily="34" charset="0"/>
              </a:rPr>
              <a:t> </a:t>
            </a:r>
            <a:r>
              <a:rPr lang="en-US" sz="800" cap="all" spc="20" dirty="0" err="1">
                <a:solidFill>
                  <a:srgbClr val="6E7378"/>
                </a:solidFill>
                <a:latin typeface="Lato" panose="020F0502020204030203" pitchFamily="34" charset="0"/>
              </a:rPr>
              <a:t>construindo</a:t>
            </a:r>
            <a:r>
              <a:rPr lang="en-US" sz="800" cap="all" spc="20" dirty="0">
                <a:solidFill>
                  <a:srgbClr val="6E7378"/>
                </a:solidFill>
                <a:latin typeface="Lato" panose="020F0502020204030203" pitchFamily="34" charset="0"/>
              </a:rPr>
              <a:t> e </a:t>
            </a:r>
            <a:r>
              <a:rPr lang="en-US" sz="800" cap="all" spc="20" dirty="0" err="1">
                <a:solidFill>
                  <a:srgbClr val="6E7378"/>
                </a:solidFill>
                <a:latin typeface="Lato" panose="020F0502020204030203" pitchFamily="34" charset="0"/>
              </a:rPr>
              <a:t>validando</a:t>
            </a:r>
            <a:r>
              <a:rPr lang="en-US" sz="800" cap="all" spc="20" dirty="0">
                <a:solidFill>
                  <a:srgbClr val="6E7378"/>
                </a:solidFill>
                <a:latin typeface="Lato" panose="020F0502020204030203" pitchFamily="34" charset="0"/>
              </a:rPr>
              <a:t> a </a:t>
            </a:r>
            <a:r>
              <a:rPr lang="en-US" sz="800" cap="all" spc="20" dirty="0" err="1">
                <a:solidFill>
                  <a:srgbClr val="6E7378"/>
                </a:solidFill>
                <a:latin typeface="Lato" panose="020F0502020204030203" pitchFamily="34" charset="0"/>
              </a:rPr>
              <a:t>qualidade</a:t>
            </a:r>
            <a:r>
              <a:rPr lang="en-US" sz="800" cap="all" spc="20" dirty="0">
                <a:solidFill>
                  <a:srgbClr val="6E7378"/>
                </a:solidFill>
                <a:latin typeface="Lato" panose="020F0502020204030203" pitchFamily="34" charset="0"/>
              </a:rPr>
              <a:t> do que </a:t>
            </a:r>
            <a:r>
              <a:rPr lang="en-US" sz="800" cap="all" spc="20" dirty="0" err="1">
                <a:solidFill>
                  <a:srgbClr val="6E7378"/>
                </a:solidFill>
                <a:latin typeface="Lato" panose="020F0502020204030203" pitchFamily="34" charset="0"/>
              </a:rPr>
              <a:t>foi</a:t>
            </a:r>
            <a:r>
              <a:rPr lang="en-US" sz="800" cap="all" spc="20" dirty="0">
                <a:solidFill>
                  <a:srgbClr val="6E7378"/>
                </a:solidFill>
                <a:latin typeface="Lato" panose="020F0502020204030203" pitchFamily="34" charset="0"/>
              </a:rPr>
              <a:t> </a:t>
            </a:r>
            <a:r>
              <a:rPr lang="en-US" sz="800" cap="all" spc="20" dirty="0" err="1">
                <a:solidFill>
                  <a:srgbClr val="6E7378"/>
                </a:solidFill>
                <a:latin typeface="Lato" panose="020F0502020204030203" pitchFamily="34" charset="0"/>
              </a:rPr>
              <a:t>desenvolvido</a:t>
            </a:r>
            <a:endParaRPr lang="en-US" sz="800" cap="all" spc="20" dirty="0">
              <a:solidFill>
                <a:srgbClr val="6E7378"/>
              </a:solidFill>
              <a:latin typeface="Lato" panose="020F0502020204030203" pitchFamily="34" charset="0"/>
            </a:endParaRPr>
          </a:p>
        </p:txBody>
      </p:sp>
      <p:sp>
        <p:nvSpPr>
          <p:cNvPr id="32" name="Title 2"/>
          <p:cNvSpPr txBox="1">
            <a:spLocks/>
          </p:cNvSpPr>
          <p:nvPr/>
        </p:nvSpPr>
        <p:spPr>
          <a:xfrm>
            <a:off x="1222214" y="3159180"/>
            <a:ext cx="987017" cy="492443"/>
          </a:xfrm>
          <a:prstGeom prst="rect">
            <a:avLst/>
          </a:prstGeom>
          <a:ln>
            <a:noFill/>
          </a:ln>
        </p:spPr>
        <p:txBody>
          <a:bodyPr wrap="square" lIns="0" tIns="0" rIns="0" bIns="0">
            <a:spAutoFit/>
          </a:bodyPr>
          <a:lstStyle>
            <a:lvl1pPr algn="ctr" defTabSz="18288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6000" b="1" kern="1200" cap="none" spc="-10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defTabSz="1371600"/>
            <a:r>
              <a:rPr lang="en-US" sz="800" cap="all" spc="20" dirty="0">
                <a:solidFill>
                  <a:srgbClr val="6E7378"/>
                </a:solidFill>
                <a:latin typeface="Lato" panose="020F0502020204030203" pitchFamily="34" charset="0"/>
              </a:rPr>
              <a:t>LPM </a:t>
            </a:r>
            <a:r>
              <a:rPr lang="en-US" sz="800" cap="all" spc="20" dirty="0" err="1">
                <a:solidFill>
                  <a:srgbClr val="6E7378"/>
                </a:solidFill>
                <a:latin typeface="Lato" panose="020F0502020204030203" pitchFamily="34" charset="0"/>
              </a:rPr>
              <a:t>gerando</a:t>
            </a:r>
            <a:r>
              <a:rPr lang="en-US" sz="800" cap="all" spc="20" dirty="0">
                <a:solidFill>
                  <a:srgbClr val="6E7378"/>
                </a:solidFill>
                <a:latin typeface="Lato" panose="020F0502020204030203" pitchFamily="34" charset="0"/>
              </a:rPr>
              <a:t> </a:t>
            </a:r>
            <a:r>
              <a:rPr lang="en-US" sz="800" cap="all" spc="20" dirty="0" err="1">
                <a:solidFill>
                  <a:srgbClr val="6E7378"/>
                </a:solidFill>
                <a:latin typeface="Lato" panose="020F0502020204030203" pitchFamily="34" charset="0"/>
              </a:rPr>
              <a:t>transparência</a:t>
            </a:r>
            <a:r>
              <a:rPr lang="en-US" sz="800" cap="all" spc="20" dirty="0">
                <a:solidFill>
                  <a:srgbClr val="6E7378"/>
                </a:solidFill>
                <a:latin typeface="Lato" panose="020F0502020204030203" pitchFamily="34" charset="0"/>
              </a:rPr>
              <a:t> do </a:t>
            </a:r>
            <a:r>
              <a:rPr lang="en-US" sz="800" cap="all" spc="20" dirty="0" err="1">
                <a:solidFill>
                  <a:srgbClr val="6E7378"/>
                </a:solidFill>
                <a:latin typeface="Lato" panose="020F0502020204030203" pitchFamily="34" charset="0"/>
              </a:rPr>
              <a:t>progresso</a:t>
            </a:r>
            <a:r>
              <a:rPr lang="en-US" sz="800" cap="all" spc="20" dirty="0">
                <a:solidFill>
                  <a:srgbClr val="6E7378"/>
                </a:solidFill>
                <a:latin typeface="Lato" panose="020F0502020204030203" pitchFamily="34" charset="0"/>
              </a:rPr>
              <a:t> e </a:t>
            </a:r>
            <a:r>
              <a:rPr lang="en-US" sz="800" cap="all" spc="20" dirty="0" err="1">
                <a:solidFill>
                  <a:srgbClr val="6E7378"/>
                </a:solidFill>
                <a:latin typeface="Lato" panose="020F0502020204030203" pitchFamily="34" charset="0"/>
              </a:rPr>
              <a:t>resultados</a:t>
            </a:r>
            <a:endParaRPr lang="en-US" sz="800" cap="all" spc="20" dirty="0">
              <a:solidFill>
                <a:srgbClr val="6E7378"/>
              </a:solidFill>
              <a:latin typeface="Lato" panose="020F0502020204030203" pitchFamily="34" charset="0"/>
            </a:endParaRPr>
          </a:p>
        </p:txBody>
      </p:sp>
      <p:sp>
        <p:nvSpPr>
          <p:cNvPr id="33" name="Title 2"/>
          <p:cNvSpPr txBox="1">
            <a:spLocks/>
          </p:cNvSpPr>
          <p:nvPr/>
        </p:nvSpPr>
        <p:spPr>
          <a:xfrm>
            <a:off x="6839043" y="3087742"/>
            <a:ext cx="1174461" cy="492443"/>
          </a:xfrm>
          <a:prstGeom prst="rect">
            <a:avLst/>
          </a:prstGeom>
          <a:ln>
            <a:noFill/>
          </a:ln>
        </p:spPr>
        <p:txBody>
          <a:bodyPr wrap="square" lIns="0" tIns="0" rIns="0" bIns="0">
            <a:spAutoFit/>
          </a:bodyPr>
          <a:lstStyle>
            <a:lvl1pPr algn="ctr" defTabSz="18288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6000" b="1" kern="1200" cap="none" spc="-10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defTabSz="1371600"/>
            <a:r>
              <a:rPr lang="en-US" sz="800" cap="all" spc="20" dirty="0">
                <a:solidFill>
                  <a:srgbClr val="6E7378"/>
                </a:solidFill>
                <a:latin typeface="Lato" panose="020F0502020204030203" pitchFamily="34" charset="0"/>
              </a:rPr>
              <a:t>Product Leader </a:t>
            </a:r>
            <a:r>
              <a:rPr lang="en-US" sz="800" cap="all" spc="20" dirty="0" err="1">
                <a:solidFill>
                  <a:srgbClr val="6E7378"/>
                </a:solidFill>
                <a:latin typeface="Lato" panose="020F0502020204030203" pitchFamily="34" charset="0"/>
              </a:rPr>
              <a:t>prestando</a:t>
            </a:r>
            <a:r>
              <a:rPr lang="en-US" sz="800" cap="all" spc="20" dirty="0">
                <a:solidFill>
                  <a:srgbClr val="6E7378"/>
                </a:solidFill>
                <a:latin typeface="Lato" panose="020F0502020204030203" pitchFamily="34" charset="0"/>
              </a:rPr>
              <a:t> </a:t>
            </a:r>
            <a:r>
              <a:rPr lang="en-US" sz="800" cap="all" spc="20" dirty="0" err="1">
                <a:solidFill>
                  <a:srgbClr val="6E7378"/>
                </a:solidFill>
                <a:latin typeface="Lato" panose="020F0502020204030203" pitchFamily="34" charset="0"/>
              </a:rPr>
              <a:t>conta</a:t>
            </a:r>
            <a:r>
              <a:rPr lang="en-US" sz="800" cap="all" spc="20" dirty="0">
                <a:solidFill>
                  <a:srgbClr val="6E7378"/>
                </a:solidFill>
                <a:latin typeface="Lato" panose="020F0502020204030203" pitchFamily="34" charset="0"/>
              </a:rPr>
              <a:t> do </a:t>
            </a:r>
            <a:r>
              <a:rPr lang="en-US" sz="800" cap="all" spc="20" dirty="0" err="1">
                <a:solidFill>
                  <a:srgbClr val="6E7378"/>
                </a:solidFill>
                <a:latin typeface="Lato" panose="020F0502020204030203" pitchFamily="34" charset="0"/>
              </a:rPr>
              <a:t>resultado</a:t>
            </a:r>
            <a:r>
              <a:rPr lang="en-US" sz="800" cap="all" spc="20" dirty="0">
                <a:solidFill>
                  <a:srgbClr val="6E7378"/>
                </a:solidFill>
                <a:latin typeface="Lato" panose="020F0502020204030203" pitchFamily="34" charset="0"/>
              </a:rPr>
              <a:t> do </a:t>
            </a:r>
            <a:r>
              <a:rPr lang="en-US" sz="800" cap="all" spc="20" dirty="0" err="1">
                <a:solidFill>
                  <a:srgbClr val="6E7378"/>
                </a:solidFill>
                <a:latin typeface="Lato" panose="020F0502020204030203" pitchFamily="34" charset="0"/>
              </a:rPr>
              <a:t>produto</a:t>
            </a:r>
            <a:endParaRPr lang="en-US" sz="800" cap="all" spc="20" dirty="0">
              <a:solidFill>
                <a:srgbClr val="6E7378"/>
              </a:solidFill>
              <a:latin typeface="Lato" panose="020F0502020204030203" pitchFamily="34" charset="0"/>
            </a:endParaRPr>
          </a:p>
        </p:txBody>
      </p:sp>
      <p:sp>
        <p:nvSpPr>
          <p:cNvPr id="34" name="Title 2"/>
          <p:cNvSpPr txBox="1">
            <a:spLocks/>
          </p:cNvSpPr>
          <p:nvPr/>
        </p:nvSpPr>
        <p:spPr>
          <a:xfrm>
            <a:off x="2650354" y="2388418"/>
            <a:ext cx="987017" cy="615553"/>
          </a:xfrm>
          <a:prstGeom prst="rect">
            <a:avLst/>
          </a:prstGeom>
          <a:ln>
            <a:noFill/>
          </a:ln>
        </p:spPr>
        <p:txBody>
          <a:bodyPr wrap="square" lIns="0" tIns="0" rIns="0" bIns="0">
            <a:spAutoFit/>
          </a:bodyPr>
          <a:lstStyle>
            <a:lvl1pPr algn="ctr" defTabSz="18288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6000" b="1" kern="1200" cap="none" spc="-10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defTabSz="1371600"/>
            <a:r>
              <a:rPr lang="en-US" sz="800" cap="all" spc="20" dirty="0" err="1">
                <a:solidFill>
                  <a:srgbClr val="6E7378"/>
                </a:solidFill>
                <a:latin typeface="Lato" panose="020F0502020204030203" pitchFamily="34" charset="0"/>
              </a:rPr>
              <a:t>Arquiteto</a:t>
            </a:r>
            <a:r>
              <a:rPr lang="en-US" sz="800" cap="all" spc="20" dirty="0">
                <a:solidFill>
                  <a:srgbClr val="6E7378"/>
                </a:solidFill>
                <a:latin typeface="Lato" panose="020F0502020204030203" pitchFamily="34" charset="0"/>
              </a:rPr>
              <a:t> de </a:t>
            </a:r>
            <a:r>
              <a:rPr lang="en-US" sz="800" cap="all" spc="20" dirty="0" err="1">
                <a:solidFill>
                  <a:srgbClr val="6E7378"/>
                </a:solidFill>
                <a:latin typeface="Lato" panose="020F0502020204030203" pitchFamily="34" charset="0"/>
              </a:rPr>
              <a:t>Negócio</a:t>
            </a:r>
            <a:r>
              <a:rPr lang="en-US" sz="800" cap="all" spc="20" dirty="0">
                <a:solidFill>
                  <a:srgbClr val="6E7378"/>
                </a:solidFill>
                <a:latin typeface="Lato" panose="020F0502020204030203" pitchFamily="34" charset="0"/>
              </a:rPr>
              <a:t> </a:t>
            </a:r>
            <a:r>
              <a:rPr lang="en-US" sz="800" cap="all" spc="20" dirty="0" err="1">
                <a:solidFill>
                  <a:srgbClr val="6E7378"/>
                </a:solidFill>
                <a:latin typeface="Lato" panose="020F0502020204030203" pitchFamily="34" charset="0"/>
              </a:rPr>
              <a:t>simplificando</a:t>
            </a:r>
            <a:r>
              <a:rPr lang="en-US" sz="800" cap="all" spc="20" dirty="0">
                <a:solidFill>
                  <a:srgbClr val="6E7378"/>
                </a:solidFill>
                <a:latin typeface="Lato" panose="020F0502020204030203" pitchFamily="34" charset="0"/>
              </a:rPr>
              <a:t> a </a:t>
            </a:r>
            <a:r>
              <a:rPr lang="en-US" sz="800" cap="all" spc="20" dirty="0" err="1">
                <a:solidFill>
                  <a:srgbClr val="6E7378"/>
                </a:solidFill>
                <a:latin typeface="Lato" panose="020F0502020204030203" pitchFamily="34" charset="0"/>
              </a:rPr>
              <a:t>concepção</a:t>
            </a:r>
            <a:r>
              <a:rPr lang="en-US" sz="800" cap="all" spc="20" dirty="0">
                <a:solidFill>
                  <a:srgbClr val="6E7378"/>
                </a:solidFill>
                <a:latin typeface="Lato" panose="020F0502020204030203" pitchFamily="34" charset="0"/>
              </a:rPr>
              <a:t> de </a:t>
            </a:r>
            <a:r>
              <a:rPr lang="en-US" sz="800" cap="all" spc="20" dirty="0" err="1">
                <a:solidFill>
                  <a:srgbClr val="6E7378"/>
                </a:solidFill>
                <a:latin typeface="Lato" panose="020F0502020204030203" pitchFamily="34" charset="0"/>
              </a:rPr>
              <a:t>produtos</a:t>
            </a:r>
            <a:r>
              <a:rPr lang="en-US" sz="800" cap="all" spc="20" dirty="0">
                <a:solidFill>
                  <a:srgbClr val="6E7378"/>
                </a:solidFill>
                <a:latin typeface="Lato" panose="020F0502020204030203" pitchFamily="34" charset="0"/>
              </a:rPr>
              <a:t> </a:t>
            </a:r>
          </a:p>
        </p:txBody>
      </p:sp>
      <p:sp>
        <p:nvSpPr>
          <p:cNvPr id="35" name="Title 2"/>
          <p:cNvSpPr txBox="1">
            <a:spLocks/>
          </p:cNvSpPr>
          <p:nvPr/>
        </p:nvSpPr>
        <p:spPr>
          <a:xfrm>
            <a:off x="5409395" y="2331267"/>
            <a:ext cx="1177475" cy="615553"/>
          </a:xfrm>
          <a:prstGeom prst="rect">
            <a:avLst/>
          </a:prstGeom>
          <a:ln>
            <a:noFill/>
          </a:ln>
        </p:spPr>
        <p:txBody>
          <a:bodyPr wrap="square" lIns="0" tIns="0" rIns="0" bIns="0">
            <a:spAutoFit/>
          </a:bodyPr>
          <a:lstStyle>
            <a:lvl1pPr algn="ctr" defTabSz="18288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6000" b="1" kern="1200" cap="none" spc="-10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defTabSz="1371600"/>
            <a:r>
              <a:rPr lang="en-US" sz="800" cap="all" spc="20" dirty="0">
                <a:solidFill>
                  <a:srgbClr val="6E7378"/>
                </a:solidFill>
                <a:latin typeface="Lato" panose="020F0502020204030203" pitchFamily="34" charset="0"/>
              </a:rPr>
              <a:t>CSA </a:t>
            </a:r>
            <a:r>
              <a:rPr lang="en-US" sz="800" cap="all" spc="20" dirty="0" err="1">
                <a:solidFill>
                  <a:srgbClr val="6E7378"/>
                </a:solidFill>
                <a:latin typeface="Lato" panose="020F0502020204030203" pitchFamily="34" charset="0"/>
              </a:rPr>
              <a:t>atuando</a:t>
            </a:r>
            <a:r>
              <a:rPr lang="en-US" sz="800" cap="all" spc="20" dirty="0">
                <a:solidFill>
                  <a:srgbClr val="6E7378"/>
                </a:solidFill>
                <a:latin typeface="Lato" panose="020F0502020204030203" pitchFamily="34" charset="0"/>
              </a:rPr>
              <a:t> </a:t>
            </a:r>
            <a:r>
              <a:rPr lang="en-US" sz="800" cap="all" spc="20" dirty="0" err="1">
                <a:solidFill>
                  <a:srgbClr val="6E7378"/>
                </a:solidFill>
                <a:latin typeface="Lato" panose="020F0502020204030203" pitchFamily="34" charset="0"/>
              </a:rPr>
              <a:t>na</a:t>
            </a:r>
            <a:r>
              <a:rPr lang="en-US" sz="800" cap="all" spc="20" dirty="0">
                <a:solidFill>
                  <a:srgbClr val="6E7378"/>
                </a:solidFill>
                <a:latin typeface="Lato" panose="020F0502020204030203" pitchFamily="34" charset="0"/>
              </a:rPr>
              <a:t> </a:t>
            </a:r>
            <a:r>
              <a:rPr lang="en-US" sz="800" cap="all" spc="20" dirty="0" err="1">
                <a:solidFill>
                  <a:srgbClr val="6E7378"/>
                </a:solidFill>
                <a:latin typeface="Lato" panose="020F0502020204030203" pitchFamily="34" charset="0"/>
              </a:rPr>
              <a:t>resolução</a:t>
            </a:r>
            <a:r>
              <a:rPr lang="en-US" sz="800" cap="all" spc="20" dirty="0">
                <a:solidFill>
                  <a:srgbClr val="6E7378"/>
                </a:solidFill>
                <a:latin typeface="Lato" panose="020F0502020204030203" pitchFamily="34" charset="0"/>
              </a:rPr>
              <a:t> </a:t>
            </a:r>
            <a:r>
              <a:rPr lang="en-US" sz="800" cap="all" spc="20" dirty="0" err="1">
                <a:solidFill>
                  <a:srgbClr val="6E7378"/>
                </a:solidFill>
                <a:latin typeface="Lato" panose="020F0502020204030203" pitchFamily="34" charset="0"/>
              </a:rPr>
              <a:t>rápida</a:t>
            </a:r>
            <a:r>
              <a:rPr lang="en-US" sz="800" cap="all" spc="20" dirty="0">
                <a:solidFill>
                  <a:srgbClr val="6E7378"/>
                </a:solidFill>
                <a:latin typeface="Lato" panose="020F0502020204030203" pitchFamily="34" charset="0"/>
              </a:rPr>
              <a:t> de </a:t>
            </a:r>
            <a:r>
              <a:rPr lang="en-US" sz="800" cap="all" spc="20" dirty="0" err="1">
                <a:solidFill>
                  <a:srgbClr val="6E7378"/>
                </a:solidFill>
                <a:latin typeface="Lato" panose="020F0502020204030203" pitchFamily="34" charset="0"/>
              </a:rPr>
              <a:t>incidentes</a:t>
            </a:r>
            <a:r>
              <a:rPr lang="en-US" sz="800" cap="all" spc="20" dirty="0">
                <a:solidFill>
                  <a:srgbClr val="6E7378"/>
                </a:solidFill>
                <a:latin typeface="Lato" panose="020F0502020204030203" pitchFamily="34" charset="0"/>
              </a:rPr>
              <a:t> e </a:t>
            </a:r>
            <a:r>
              <a:rPr lang="en-US" sz="800" cap="all" spc="20" dirty="0" err="1">
                <a:solidFill>
                  <a:srgbClr val="6E7378"/>
                </a:solidFill>
                <a:latin typeface="Lato" panose="020F0502020204030203" pitchFamily="34" charset="0"/>
              </a:rPr>
              <a:t>validando</a:t>
            </a:r>
            <a:r>
              <a:rPr lang="en-US" sz="800" cap="all" spc="20" dirty="0">
                <a:solidFill>
                  <a:srgbClr val="6E7378"/>
                </a:solidFill>
                <a:latin typeface="Lato" panose="020F0502020204030203" pitchFamily="34" charset="0"/>
              </a:rPr>
              <a:t> </a:t>
            </a:r>
            <a:r>
              <a:rPr lang="en-US" sz="800" cap="all" spc="20" dirty="0" err="1">
                <a:solidFill>
                  <a:srgbClr val="6E7378"/>
                </a:solidFill>
                <a:latin typeface="Lato" panose="020F0502020204030203" pitchFamily="34" charset="0"/>
              </a:rPr>
              <a:t>homologação</a:t>
            </a:r>
            <a:endParaRPr lang="en-US" sz="800" cap="all" spc="20" dirty="0">
              <a:solidFill>
                <a:srgbClr val="6E7378"/>
              </a:solidFill>
              <a:latin typeface="Lato" panose="020F0502020204030203" pitchFamily="34" charset="0"/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1047784" y="1634771"/>
            <a:ext cx="1335874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pt-BR"/>
            </a:defPPr>
            <a:lvl1pPr algn="ctr">
              <a:defRPr sz="1067" cap="all" spc="27">
                <a:solidFill>
                  <a:schemeClr val="accent5">
                    <a:lumMod val="75000"/>
                  </a:schemeClr>
                </a:solidFill>
                <a:latin typeface="Lato Black" panose="020F0A02020204030203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sz="800" spc="20" dirty="0" err="1">
                <a:solidFill>
                  <a:srgbClr val="AAAFB4">
                    <a:lumMod val="75000"/>
                  </a:srgbClr>
                </a:solidFill>
              </a:rPr>
              <a:t>Passa</a:t>
            </a:r>
            <a:r>
              <a:rPr lang="en-US" sz="800" spc="20" dirty="0">
                <a:solidFill>
                  <a:srgbClr val="AAAFB4">
                    <a:lumMod val="75000"/>
                  </a:srgbClr>
                </a:solidFill>
              </a:rPr>
              <a:t> a </a:t>
            </a:r>
            <a:r>
              <a:rPr lang="en-US" sz="800" spc="20" dirty="0" err="1">
                <a:solidFill>
                  <a:srgbClr val="AAAFB4">
                    <a:lumMod val="75000"/>
                  </a:srgbClr>
                </a:solidFill>
              </a:rPr>
              <a:t>integrar</a:t>
            </a:r>
            <a:r>
              <a:rPr lang="en-US" sz="800" spc="20" dirty="0">
                <a:solidFill>
                  <a:srgbClr val="AAAFB4">
                    <a:lumMod val="75000"/>
                  </a:srgbClr>
                </a:solidFill>
              </a:rPr>
              <a:t> o time de </a:t>
            </a:r>
            <a:r>
              <a:rPr lang="en-US" sz="800" spc="20" dirty="0" err="1">
                <a:solidFill>
                  <a:srgbClr val="AAAFB4">
                    <a:lumMod val="75000"/>
                  </a:srgbClr>
                </a:solidFill>
              </a:rPr>
              <a:t>governança</a:t>
            </a:r>
            <a:r>
              <a:rPr lang="en-US" sz="800" spc="20" dirty="0">
                <a:solidFill>
                  <a:srgbClr val="AAAFB4">
                    <a:lumMod val="75000"/>
                  </a:srgbClr>
                </a:solidFill>
              </a:rPr>
              <a:t> de TI</a:t>
            </a:r>
          </a:p>
          <a:p>
            <a:r>
              <a:rPr lang="en-US" sz="800" spc="20" dirty="0" err="1">
                <a:solidFill>
                  <a:srgbClr val="AAAFB4">
                    <a:lumMod val="75000"/>
                  </a:srgbClr>
                </a:solidFill>
              </a:rPr>
              <a:t>Gestão</a:t>
            </a:r>
            <a:r>
              <a:rPr lang="en-US" sz="800" spc="20" dirty="0">
                <a:solidFill>
                  <a:srgbClr val="AAAFB4">
                    <a:lumMod val="75000"/>
                  </a:srgbClr>
                </a:solidFill>
              </a:rPr>
              <a:t> Eduardo Elias</a:t>
            </a:r>
          </a:p>
        </p:txBody>
      </p:sp>
      <p:sp>
        <p:nvSpPr>
          <p:cNvPr id="41" name="TextBox 35">
            <a:extLst>
              <a:ext uri="{FF2B5EF4-FFF2-40B4-BE49-F238E27FC236}">
                <a16:creationId xmlns:a16="http://schemas.microsoft.com/office/drawing/2014/main" id="{0A680095-68CD-456E-9D15-3C7643B5425C}"/>
              </a:ext>
            </a:extLst>
          </p:cNvPr>
          <p:cNvSpPr txBox="1"/>
          <p:nvPr/>
        </p:nvSpPr>
        <p:spPr>
          <a:xfrm>
            <a:off x="2482699" y="3623448"/>
            <a:ext cx="1321321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800" cap="all" spc="20" dirty="0">
                <a:solidFill>
                  <a:srgbClr val="AAAFB4">
                    <a:lumMod val="75000"/>
                  </a:srgbClr>
                </a:solidFill>
                <a:latin typeface="Lato Black" panose="020F0A02020204030203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Time senior </a:t>
            </a:r>
            <a:r>
              <a:rPr lang="en-US" sz="800" cap="all" spc="20" dirty="0" err="1">
                <a:solidFill>
                  <a:srgbClr val="AAAFB4">
                    <a:lumMod val="75000"/>
                  </a:srgbClr>
                </a:solidFill>
                <a:latin typeface="Lato Black" panose="020F0A02020204030203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edicado</a:t>
            </a:r>
            <a:r>
              <a:rPr lang="en-US" sz="800" cap="all" spc="20" dirty="0">
                <a:solidFill>
                  <a:srgbClr val="AAAFB4">
                    <a:lumMod val="75000"/>
                  </a:srgbClr>
                </a:solidFill>
                <a:latin typeface="Lato Black" panose="020F0A02020204030203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a </a:t>
            </a:r>
            <a:r>
              <a:rPr lang="en-US" sz="800" cap="all" spc="20" dirty="0" err="1">
                <a:solidFill>
                  <a:srgbClr val="AAAFB4">
                    <a:lumMod val="75000"/>
                  </a:srgbClr>
                </a:solidFill>
                <a:latin typeface="Lato Black" panose="020F0A02020204030203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iscussão</a:t>
            </a:r>
            <a:r>
              <a:rPr lang="en-US" sz="800" cap="all" spc="20" dirty="0">
                <a:solidFill>
                  <a:srgbClr val="AAAFB4">
                    <a:lumMod val="75000"/>
                  </a:srgbClr>
                </a:solidFill>
                <a:latin typeface="Lato Black" panose="020F0A02020204030203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de </a:t>
            </a:r>
            <a:r>
              <a:rPr lang="en-US" sz="800" cap="all" spc="20" dirty="0" err="1">
                <a:solidFill>
                  <a:srgbClr val="AAAFB4">
                    <a:lumMod val="75000"/>
                  </a:srgbClr>
                </a:solidFill>
                <a:latin typeface="Lato Black" panose="020F0A02020204030203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negócio</a:t>
            </a:r>
            <a:r>
              <a:rPr lang="en-US" sz="800" cap="all" spc="20" dirty="0">
                <a:solidFill>
                  <a:srgbClr val="AAAFB4">
                    <a:lumMod val="75000"/>
                  </a:srgbClr>
                </a:solidFill>
                <a:latin typeface="Lato Black" panose="020F0A02020204030203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e com </a:t>
            </a:r>
            <a:r>
              <a:rPr lang="en-US" sz="800" cap="all" spc="20" dirty="0" err="1">
                <a:solidFill>
                  <a:srgbClr val="AAAFB4">
                    <a:lumMod val="75000"/>
                  </a:srgbClr>
                </a:solidFill>
                <a:latin typeface="Lato Black" panose="020F0A02020204030203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onhecimento</a:t>
            </a:r>
            <a:r>
              <a:rPr lang="en-US" sz="800" cap="all" spc="20" dirty="0">
                <a:solidFill>
                  <a:srgbClr val="AAAFB4">
                    <a:lumMod val="75000"/>
                  </a:srgbClr>
                </a:solidFill>
                <a:latin typeface="Lato Black" panose="020F0A02020204030203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800" cap="all" spc="20" dirty="0" err="1">
                <a:solidFill>
                  <a:srgbClr val="AAAFB4">
                    <a:lumMod val="75000"/>
                  </a:srgbClr>
                </a:solidFill>
                <a:latin typeface="Lato Black" panose="020F0A02020204030203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técnico</a:t>
            </a:r>
            <a:r>
              <a:rPr lang="en-US" sz="800" cap="all" spc="20" dirty="0">
                <a:solidFill>
                  <a:srgbClr val="AAAFB4">
                    <a:lumMod val="75000"/>
                  </a:srgbClr>
                </a:solidFill>
                <a:latin typeface="Lato Black" panose="020F0A02020204030203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de </a:t>
            </a:r>
            <a:r>
              <a:rPr lang="en-US" sz="800" cap="all" spc="20" dirty="0" err="1">
                <a:solidFill>
                  <a:srgbClr val="AAAFB4">
                    <a:lumMod val="75000"/>
                  </a:srgbClr>
                </a:solidFill>
                <a:latin typeface="Lato Black" panose="020F0A02020204030203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nossas</a:t>
            </a:r>
            <a:r>
              <a:rPr lang="en-US" sz="800" cap="all" spc="20" dirty="0">
                <a:solidFill>
                  <a:srgbClr val="AAAFB4">
                    <a:lumMod val="75000"/>
                  </a:srgbClr>
                </a:solidFill>
                <a:latin typeface="Lato Black" panose="020F0A02020204030203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800" cap="all" spc="20" dirty="0" err="1">
                <a:solidFill>
                  <a:srgbClr val="AAAFB4">
                    <a:lumMod val="75000"/>
                  </a:srgbClr>
                </a:solidFill>
                <a:latin typeface="Lato Black" panose="020F0A02020204030203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oluções</a:t>
            </a:r>
            <a:endParaRPr lang="en-US" sz="800" cap="all" spc="20" dirty="0">
              <a:solidFill>
                <a:srgbClr val="AAAFB4">
                  <a:lumMod val="75000"/>
                </a:srgbClr>
              </a:solidFill>
              <a:latin typeface="Lato Black" panose="020F0A02020204030203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algn="ctr"/>
            <a:r>
              <a:rPr lang="en-US" sz="800" cap="all" spc="20" dirty="0" err="1">
                <a:solidFill>
                  <a:srgbClr val="AAAFB4">
                    <a:lumMod val="75000"/>
                  </a:srgbClr>
                </a:solidFill>
                <a:latin typeface="Lato Black" panose="020F0A02020204030203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Gestão</a:t>
            </a:r>
            <a:r>
              <a:rPr lang="en-US" sz="800" cap="all" spc="20" dirty="0">
                <a:solidFill>
                  <a:srgbClr val="AAAFB4">
                    <a:lumMod val="75000"/>
                  </a:srgbClr>
                </a:solidFill>
                <a:latin typeface="Lato Black" panose="020F0A02020204030203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Debora Roesler</a:t>
            </a:r>
          </a:p>
        </p:txBody>
      </p:sp>
      <p:sp>
        <p:nvSpPr>
          <p:cNvPr id="42" name="TextBox 35">
            <a:extLst>
              <a:ext uri="{FF2B5EF4-FFF2-40B4-BE49-F238E27FC236}">
                <a16:creationId xmlns:a16="http://schemas.microsoft.com/office/drawing/2014/main" id="{F1567237-EC62-4DEB-9D8C-B5D1CA170AC8}"/>
              </a:ext>
            </a:extLst>
          </p:cNvPr>
          <p:cNvSpPr txBox="1"/>
          <p:nvPr/>
        </p:nvSpPr>
        <p:spPr>
          <a:xfrm>
            <a:off x="3929632" y="1105455"/>
            <a:ext cx="1321321" cy="9848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800" cap="all" spc="20" dirty="0" err="1">
                <a:solidFill>
                  <a:srgbClr val="AAAFB4">
                    <a:lumMod val="75000"/>
                  </a:srgbClr>
                </a:solidFill>
                <a:latin typeface="Lato Black" panose="020F0A02020204030203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Uso</a:t>
            </a:r>
            <a:r>
              <a:rPr lang="en-US" sz="800" cap="all" spc="20" dirty="0">
                <a:solidFill>
                  <a:srgbClr val="AAAFB4">
                    <a:lumMod val="75000"/>
                  </a:srgbClr>
                </a:solidFill>
                <a:latin typeface="Lato Black" panose="020F0A02020204030203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800" cap="all" spc="20" dirty="0" err="1">
                <a:solidFill>
                  <a:srgbClr val="AAAFB4">
                    <a:lumMod val="75000"/>
                  </a:srgbClr>
                </a:solidFill>
                <a:latin typeface="Lato Black" panose="020F0A02020204030203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Massivo</a:t>
            </a:r>
            <a:r>
              <a:rPr lang="en-US" sz="800" cap="all" spc="20" dirty="0">
                <a:solidFill>
                  <a:srgbClr val="AAAFB4">
                    <a:lumMod val="75000"/>
                  </a:srgbClr>
                </a:solidFill>
                <a:latin typeface="Lato Black" panose="020F0A02020204030203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de </a:t>
            </a:r>
            <a:r>
              <a:rPr lang="en-US" sz="800" cap="all" spc="20" dirty="0" err="1">
                <a:solidFill>
                  <a:srgbClr val="AAAFB4">
                    <a:lumMod val="75000"/>
                  </a:srgbClr>
                </a:solidFill>
                <a:latin typeface="Lato Black" panose="020F0A02020204030203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utomação</a:t>
            </a:r>
            <a:r>
              <a:rPr lang="en-US" sz="800" cap="all" spc="20" dirty="0">
                <a:solidFill>
                  <a:srgbClr val="AAAFB4">
                    <a:lumMod val="75000"/>
                  </a:srgbClr>
                </a:solidFill>
                <a:latin typeface="Lato Black" panose="020F0A02020204030203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para </a:t>
            </a:r>
            <a:r>
              <a:rPr lang="en-US" sz="800" cap="all" spc="20" dirty="0" err="1">
                <a:solidFill>
                  <a:srgbClr val="AAAFB4">
                    <a:lumMod val="75000"/>
                  </a:srgbClr>
                </a:solidFill>
                <a:latin typeface="Lato Black" panose="020F0A02020204030203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garantir</a:t>
            </a:r>
            <a:r>
              <a:rPr lang="en-US" sz="800" cap="all" spc="20" dirty="0">
                <a:solidFill>
                  <a:srgbClr val="AAAFB4">
                    <a:lumMod val="75000"/>
                  </a:srgbClr>
                </a:solidFill>
                <a:latin typeface="Lato Black" panose="020F0A02020204030203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800" cap="all" spc="20" dirty="0" err="1">
                <a:solidFill>
                  <a:srgbClr val="AAAFB4">
                    <a:lumMod val="75000"/>
                  </a:srgbClr>
                </a:solidFill>
                <a:latin typeface="Lato Black" panose="020F0A02020204030203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velocidade</a:t>
            </a:r>
            <a:r>
              <a:rPr lang="en-US" sz="800" cap="all" spc="20" dirty="0">
                <a:solidFill>
                  <a:srgbClr val="AAAFB4">
                    <a:lumMod val="75000"/>
                  </a:srgbClr>
                </a:solidFill>
                <a:latin typeface="Lato Black" panose="020F0A02020204030203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e </a:t>
            </a:r>
            <a:r>
              <a:rPr lang="en-US" sz="800" cap="all" spc="20" dirty="0" err="1">
                <a:solidFill>
                  <a:srgbClr val="AAAFB4">
                    <a:lumMod val="75000"/>
                  </a:srgbClr>
                </a:solidFill>
                <a:latin typeface="Lato Black" panose="020F0A02020204030203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qualidade</a:t>
            </a:r>
            <a:r>
              <a:rPr lang="en-US" sz="800" cap="all" spc="20" dirty="0">
                <a:solidFill>
                  <a:srgbClr val="AAAFB4">
                    <a:lumMod val="75000"/>
                  </a:srgbClr>
                </a:solidFill>
                <a:latin typeface="Lato Black" panose="020F0A02020204030203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do que </a:t>
            </a:r>
            <a:r>
              <a:rPr lang="en-US" sz="800" cap="all" spc="20" dirty="0" err="1">
                <a:solidFill>
                  <a:srgbClr val="AAAFB4">
                    <a:lumMod val="75000"/>
                  </a:srgbClr>
                </a:solidFill>
                <a:latin typeface="Lato Black" panose="020F0A02020204030203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stá</a:t>
            </a:r>
            <a:r>
              <a:rPr lang="en-US" sz="800" cap="all" spc="20" dirty="0">
                <a:solidFill>
                  <a:srgbClr val="AAAFB4">
                    <a:lumMod val="75000"/>
                  </a:srgbClr>
                </a:solidFill>
                <a:latin typeface="Lato Black" panose="020F0A02020204030203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800" cap="all" spc="20" dirty="0" err="1">
                <a:solidFill>
                  <a:srgbClr val="AAAFB4">
                    <a:lumMod val="75000"/>
                  </a:srgbClr>
                </a:solidFill>
                <a:latin typeface="Lato Black" panose="020F0A02020204030203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endo</a:t>
            </a:r>
            <a:r>
              <a:rPr lang="en-US" sz="800" cap="all" spc="20" dirty="0">
                <a:solidFill>
                  <a:srgbClr val="AAAFB4">
                    <a:lumMod val="75000"/>
                  </a:srgbClr>
                </a:solidFill>
                <a:latin typeface="Lato Black" panose="020F0A02020204030203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800" cap="all" spc="20" dirty="0" err="1">
                <a:solidFill>
                  <a:srgbClr val="AAAFB4">
                    <a:lumMod val="75000"/>
                  </a:srgbClr>
                </a:solidFill>
                <a:latin typeface="Lato Black" panose="020F0A02020204030203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isponibilizado</a:t>
            </a:r>
            <a:r>
              <a:rPr lang="en-US" sz="800" cap="all" spc="20" dirty="0">
                <a:solidFill>
                  <a:srgbClr val="AAAFB4">
                    <a:lumMod val="75000"/>
                  </a:srgbClr>
                </a:solidFill>
                <a:latin typeface="Lato Black" panose="020F0A02020204030203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800" cap="all" spc="20" dirty="0" err="1">
                <a:solidFill>
                  <a:srgbClr val="AAAFB4">
                    <a:lumMod val="75000"/>
                  </a:srgbClr>
                </a:solidFill>
                <a:latin typeface="Lato Black" panose="020F0A02020204030203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os</a:t>
            </a:r>
            <a:r>
              <a:rPr lang="en-US" sz="800" cap="all" spc="20" dirty="0">
                <a:solidFill>
                  <a:srgbClr val="AAAFB4">
                    <a:lumMod val="75000"/>
                  </a:srgbClr>
                </a:solidFill>
                <a:latin typeface="Lato Black" panose="020F0A02020204030203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800" cap="all" spc="20" dirty="0" err="1">
                <a:solidFill>
                  <a:srgbClr val="AAAFB4">
                    <a:lumMod val="75000"/>
                  </a:srgbClr>
                </a:solidFill>
                <a:latin typeface="Lato Black" panose="020F0A02020204030203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lientes</a:t>
            </a:r>
            <a:r>
              <a:rPr lang="en-US" sz="800" cap="all" spc="20" dirty="0">
                <a:solidFill>
                  <a:srgbClr val="AAAFB4">
                    <a:lumMod val="75000"/>
                  </a:srgbClr>
                </a:solidFill>
                <a:latin typeface="Lato Black" panose="020F0A02020204030203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</a:p>
          <a:p>
            <a:pPr algn="ctr"/>
            <a:r>
              <a:rPr lang="en-US" sz="800" cap="all" spc="20" dirty="0" err="1">
                <a:solidFill>
                  <a:srgbClr val="AAAFB4">
                    <a:lumMod val="75000"/>
                  </a:srgbClr>
                </a:solidFill>
                <a:latin typeface="Lato Black" panose="020F0A02020204030203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Gestão</a:t>
            </a:r>
            <a:r>
              <a:rPr lang="en-US" sz="800" cap="all" spc="20" dirty="0">
                <a:solidFill>
                  <a:srgbClr val="AAAFB4">
                    <a:lumMod val="75000"/>
                  </a:srgbClr>
                </a:solidFill>
                <a:latin typeface="Lato Black" panose="020F0A02020204030203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: Debora, Andrade e Odinei</a:t>
            </a:r>
          </a:p>
        </p:txBody>
      </p:sp>
      <p:sp>
        <p:nvSpPr>
          <p:cNvPr id="43" name="TextBox 35">
            <a:extLst>
              <a:ext uri="{FF2B5EF4-FFF2-40B4-BE49-F238E27FC236}">
                <a16:creationId xmlns:a16="http://schemas.microsoft.com/office/drawing/2014/main" id="{B50B124D-503C-4F0F-B27D-BDED1052A1A2}"/>
              </a:ext>
            </a:extLst>
          </p:cNvPr>
          <p:cNvSpPr txBox="1"/>
          <p:nvPr/>
        </p:nvSpPr>
        <p:spPr>
          <a:xfrm>
            <a:off x="5374704" y="3549671"/>
            <a:ext cx="1247885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800" cap="all" spc="20" dirty="0" err="1">
                <a:solidFill>
                  <a:srgbClr val="AAAFB4">
                    <a:lumMod val="75000"/>
                  </a:srgbClr>
                </a:solidFill>
                <a:latin typeface="Lato Black" panose="020F0A02020204030203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onsolidação</a:t>
            </a:r>
            <a:r>
              <a:rPr lang="en-US" sz="800" cap="all" spc="20" dirty="0">
                <a:solidFill>
                  <a:srgbClr val="AAAFB4">
                    <a:lumMod val="75000"/>
                  </a:srgbClr>
                </a:solidFill>
                <a:latin typeface="Lato Black" panose="020F0A02020204030203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de times de </a:t>
            </a:r>
            <a:r>
              <a:rPr lang="en-US" sz="800" cap="all" spc="20" dirty="0" err="1">
                <a:solidFill>
                  <a:srgbClr val="AAAFB4">
                    <a:lumMod val="75000"/>
                  </a:srgbClr>
                </a:solidFill>
                <a:latin typeface="Lato Black" panose="020F0A02020204030203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ustentação</a:t>
            </a:r>
            <a:r>
              <a:rPr lang="en-US" sz="800" cap="all" spc="20" dirty="0">
                <a:solidFill>
                  <a:srgbClr val="AAAFB4">
                    <a:lumMod val="75000"/>
                  </a:srgbClr>
                </a:solidFill>
                <a:latin typeface="Lato Black" panose="020F0A02020204030203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de </a:t>
            </a:r>
            <a:r>
              <a:rPr lang="en-US" sz="800" cap="all" spc="20" dirty="0" err="1">
                <a:solidFill>
                  <a:srgbClr val="AAAFB4">
                    <a:lumMod val="75000"/>
                  </a:srgbClr>
                </a:solidFill>
                <a:latin typeface="Lato Black" panose="020F0A02020204030203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istemas</a:t>
            </a:r>
            <a:r>
              <a:rPr lang="en-US" sz="800" cap="all" spc="20" dirty="0">
                <a:solidFill>
                  <a:srgbClr val="AAAFB4">
                    <a:lumMod val="75000"/>
                  </a:srgbClr>
                </a:solidFill>
                <a:latin typeface="Lato Black" panose="020F0A02020204030203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800" cap="all" spc="20" dirty="0" err="1">
                <a:solidFill>
                  <a:srgbClr val="AAAFB4">
                    <a:lumMod val="75000"/>
                  </a:srgbClr>
                </a:solidFill>
                <a:latin typeface="Lato Black" panose="020F0A02020204030203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m</a:t>
            </a:r>
            <a:r>
              <a:rPr lang="en-US" sz="800" cap="all" spc="20" dirty="0">
                <a:solidFill>
                  <a:srgbClr val="AAAFB4">
                    <a:lumMod val="75000"/>
                  </a:srgbClr>
                </a:solidFill>
                <a:latin typeface="Lato Black" panose="020F0A02020204030203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800" cap="all" spc="20" dirty="0" err="1">
                <a:solidFill>
                  <a:srgbClr val="AAAFB4">
                    <a:lumMod val="75000"/>
                  </a:srgbClr>
                </a:solidFill>
                <a:latin typeface="Lato Black" panose="020F0A02020204030203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uma</a:t>
            </a:r>
            <a:r>
              <a:rPr lang="en-US" sz="800" cap="all" spc="20" dirty="0">
                <a:solidFill>
                  <a:srgbClr val="AAAFB4">
                    <a:lumMod val="75000"/>
                  </a:srgbClr>
                </a:solidFill>
                <a:latin typeface="Lato Black" panose="020F0A02020204030203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800" cap="all" spc="20" dirty="0" err="1">
                <a:solidFill>
                  <a:srgbClr val="AAAFB4">
                    <a:lumMod val="75000"/>
                  </a:srgbClr>
                </a:solidFill>
                <a:latin typeface="Lato Black" panose="020F0A02020204030203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única</a:t>
            </a:r>
            <a:r>
              <a:rPr lang="en-US" sz="800" cap="all" spc="20" dirty="0">
                <a:solidFill>
                  <a:srgbClr val="AAAFB4">
                    <a:lumMod val="75000"/>
                  </a:srgbClr>
                </a:solidFill>
                <a:latin typeface="Lato Black" panose="020F0A02020204030203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800" cap="all" spc="20" dirty="0" err="1">
                <a:solidFill>
                  <a:srgbClr val="AAAFB4">
                    <a:lumMod val="75000"/>
                  </a:srgbClr>
                </a:solidFill>
                <a:latin typeface="Lato Black" panose="020F0A02020204030203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organização</a:t>
            </a:r>
            <a:endParaRPr lang="en-US" sz="800" cap="all" spc="20" dirty="0">
              <a:solidFill>
                <a:srgbClr val="AAAFB4">
                  <a:lumMod val="75000"/>
                </a:srgbClr>
              </a:solidFill>
              <a:latin typeface="Lato Black" panose="020F0A02020204030203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algn="ctr"/>
            <a:r>
              <a:rPr lang="en-US" sz="800" cap="all" spc="20" dirty="0" err="1">
                <a:solidFill>
                  <a:srgbClr val="AAAFB4">
                    <a:lumMod val="75000"/>
                  </a:srgbClr>
                </a:solidFill>
                <a:latin typeface="Lato Black" panose="020F0A02020204030203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Gestão</a:t>
            </a:r>
            <a:r>
              <a:rPr lang="en-US" sz="800" cap="all" spc="20" dirty="0">
                <a:solidFill>
                  <a:srgbClr val="AAAFB4">
                    <a:lumMod val="75000"/>
                  </a:srgbClr>
                </a:solidFill>
                <a:latin typeface="Lato Black" panose="020F0A02020204030203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Tasso Faria</a:t>
            </a:r>
          </a:p>
        </p:txBody>
      </p:sp>
      <p:sp>
        <p:nvSpPr>
          <p:cNvPr id="44" name="TextBox 35">
            <a:extLst>
              <a:ext uri="{FF2B5EF4-FFF2-40B4-BE49-F238E27FC236}">
                <a16:creationId xmlns:a16="http://schemas.microsoft.com/office/drawing/2014/main" id="{A5982F54-BD9E-40CA-BC8C-3AE2471F67E3}"/>
              </a:ext>
            </a:extLst>
          </p:cNvPr>
          <p:cNvSpPr txBox="1"/>
          <p:nvPr/>
        </p:nvSpPr>
        <p:spPr>
          <a:xfrm>
            <a:off x="6748326" y="1517650"/>
            <a:ext cx="1321315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800" cap="all" spc="20" dirty="0" err="1">
                <a:solidFill>
                  <a:srgbClr val="AAAFB4">
                    <a:lumMod val="75000"/>
                  </a:srgbClr>
                </a:solidFill>
                <a:latin typeface="Lato Black" panose="020F0A02020204030203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mpoderamento</a:t>
            </a:r>
            <a:r>
              <a:rPr lang="en-US" sz="800" cap="all" spc="20" dirty="0">
                <a:solidFill>
                  <a:srgbClr val="AAAFB4">
                    <a:lumMod val="75000"/>
                  </a:srgbClr>
                </a:solidFill>
                <a:latin typeface="Lato Black" panose="020F0A02020204030203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para a </a:t>
            </a:r>
            <a:r>
              <a:rPr lang="en-US" sz="800" cap="all" spc="20" dirty="0" err="1">
                <a:solidFill>
                  <a:srgbClr val="AAAFB4">
                    <a:lumMod val="75000"/>
                  </a:srgbClr>
                </a:solidFill>
                <a:latin typeface="Lato Black" panose="020F0A02020204030203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busca</a:t>
            </a:r>
            <a:r>
              <a:rPr lang="en-US" sz="800" cap="all" spc="20" dirty="0">
                <a:solidFill>
                  <a:srgbClr val="AAAFB4">
                    <a:lumMod val="75000"/>
                  </a:srgbClr>
                </a:solidFill>
                <a:latin typeface="Lato Black" panose="020F0A02020204030203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de </a:t>
            </a:r>
            <a:r>
              <a:rPr lang="en-US" sz="800" cap="all" spc="20" dirty="0" err="1">
                <a:solidFill>
                  <a:srgbClr val="AAAFB4">
                    <a:lumMod val="75000"/>
                  </a:srgbClr>
                </a:solidFill>
                <a:latin typeface="Lato Black" panose="020F0A02020204030203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orçamento</a:t>
            </a:r>
            <a:r>
              <a:rPr lang="en-US" sz="800" cap="all" spc="20" dirty="0">
                <a:solidFill>
                  <a:srgbClr val="AAAFB4">
                    <a:lumMod val="75000"/>
                  </a:srgbClr>
                </a:solidFill>
                <a:latin typeface="Lato Black" panose="020F0A02020204030203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e </a:t>
            </a:r>
            <a:r>
              <a:rPr lang="en-US" sz="800" cap="all" spc="20" dirty="0" err="1">
                <a:solidFill>
                  <a:srgbClr val="AAAFB4">
                    <a:lumMod val="75000"/>
                  </a:srgbClr>
                </a:solidFill>
                <a:latin typeface="Lato Black" panose="020F0A02020204030203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geração</a:t>
            </a:r>
            <a:r>
              <a:rPr lang="en-US" sz="800" cap="all" spc="20" dirty="0">
                <a:solidFill>
                  <a:srgbClr val="AAAFB4">
                    <a:lumMod val="75000"/>
                  </a:srgbClr>
                </a:solidFill>
                <a:latin typeface="Lato Black" panose="020F0A02020204030203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de </a:t>
            </a:r>
            <a:r>
              <a:rPr lang="en-US" sz="800" cap="all" spc="20" dirty="0" err="1">
                <a:solidFill>
                  <a:srgbClr val="AAAFB4">
                    <a:lumMod val="75000"/>
                  </a:srgbClr>
                </a:solidFill>
                <a:latin typeface="Lato Black" panose="020F0A02020204030203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esultado</a:t>
            </a:r>
            <a:endParaRPr lang="en-US" sz="800" cap="all" spc="20" dirty="0">
              <a:solidFill>
                <a:srgbClr val="AAAFB4">
                  <a:lumMod val="75000"/>
                </a:srgbClr>
              </a:solidFill>
              <a:latin typeface="Lato Black" panose="020F0A02020204030203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algn="ctr"/>
            <a:r>
              <a:rPr lang="en-US" sz="800" cap="all" spc="20" dirty="0" err="1">
                <a:solidFill>
                  <a:srgbClr val="AAAFB4">
                    <a:lumMod val="75000"/>
                  </a:srgbClr>
                </a:solidFill>
                <a:latin typeface="Lato Black" panose="020F0A02020204030203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Gestão</a:t>
            </a:r>
            <a:r>
              <a:rPr lang="en-US" sz="800" cap="all" spc="20" dirty="0">
                <a:solidFill>
                  <a:srgbClr val="AAAFB4">
                    <a:lumMod val="75000"/>
                  </a:srgbClr>
                </a:solidFill>
                <a:latin typeface="Lato Black" panose="020F0A02020204030203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: M&amp;N</a:t>
            </a:r>
          </a:p>
        </p:txBody>
      </p:sp>
    </p:spTree>
    <p:extLst>
      <p:ext uri="{BB962C8B-B14F-4D97-AF65-F5344CB8AC3E}">
        <p14:creationId xmlns:p14="http://schemas.microsoft.com/office/powerpoint/2010/main" val="35205821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" name="Retângulo: Cantos Arredondados 101">
            <a:extLst>
              <a:ext uri="{FF2B5EF4-FFF2-40B4-BE49-F238E27FC236}">
                <a16:creationId xmlns:a16="http://schemas.microsoft.com/office/drawing/2014/main" id="{3C8DAB60-D690-4875-A95E-05E3B21427F0}"/>
              </a:ext>
            </a:extLst>
          </p:cNvPr>
          <p:cNvSpPr/>
          <p:nvPr/>
        </p:nvSpPr>
        <p:spPr>
          <a:xfrm>
            <a:off x="584202" y="3680542"/>
            <a:ext cx="4441934" cy="1295801"/>
          </a:xfrm>
          <a:prstGeom prst="roundRect">
            <a:avLst>
              <a:gd name="adj" fmla="val 4102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pt-BR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" name="Espaço Reservado para Texto 1">
            <a:extLst>
              <a:ext uri="{FF2B5EF4-FFF2-40B4-BE49-F238E27FC236}">
                <a16:creationId xmlns:a16="http://schemas.microsoft.com/office/drawing/2014/main" id="{E2955CEB-7DA1-44F8-8436-CCFD79CB84F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err="1"/>
              <a:t>Oportunidade</a:t>
            </a:r>
            <a:r>
              <a:rPr lang="en-US" dirty="0"/>
              <a:t> </a:t>
            </a:r>
            <a:r>
              <a:rPr lang="en-US" dirty="0" err="1"/>
              <a:t>gETPAY</a:t>
            </a:r>
            <a:endParaRPr lang="en-US" dirty="0">
              <a:solidFill>
                <a:srgbClr val="EC0000"/>
              </a:solidFill>
            </a:endParaRPr>
          </a:p>
          <a:p>
            <a:endParaRPr lang="pt-BR" dirty="0"/>
          </a:p>
        </p:txBody>
      </p:sp>
      <p:grpSp>
        <p:nvGrpSpPr>
          <p:cNvPr id="99" name="Agrupar 98">
            <a:extLst>
              <a:ext uri="{FF2B5EF4-FFF2-40B4-BE49-F238E27FC236}">
                <a16:creationId xmlns:a16="http://schemas.microsoft.com/office/drawing/2014/main" id="{97B232FC-E94B-4676-A1E0-437884FE32C0}"/>
              </a:ext>
            </a:extLst>
          </p:cNvPr>
          <p:cNvGrpSpPr/>
          <p:nvPr/>
        </p:nvGrpSpPr>
        <p:grpSpPr>
          <a:xfrm>
            <a:off x="656852" y="3765468"/>
            <a:ext cx="2946960" cy="1109885"/>
            <a:chOff x="7225682" y="1939103"/>
            <a:chExt cx="3929280" cy="1479847"/>
          </a:xfrm>
        </p:grpSpPr>
        <p:sp>
          <p:nvSpPr>
            <p:cNvPr id="93" name="CaixaDeTexto 92">
              <a:extLst>
                <a:ext uri="{FF2B5EF4-FFF2-40B4-BE49-F238E27FC236}">
                  <a16:creationId xmlns:a16="http://schemas.microsoft.com/office/drawing/2014/main" id="{64944991-4EEC-4D47-A6A1-322E16B425BB}"/>
                </a:ext>
              </a:extLst>
            </p:cNvPr>
            <p:cNvSpPr txBox="1"/>
            <p:nvPr/>
          </p:nvSpPr>
          <p:spPr>
            <a:xfrm>
              <a:off x="7414700" y="1939103"/>
              <a:ext cx="3740262" cy="145579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>
              <a:defPPr>
                <a:defRPr lang="pt-BR"/>
              </a:defPPr>
              <a:lvl1pPr algn="ctr">
                <a:defRPr sz="1333">
                  <a:solidFill>
                    <a:schemeClr val="dk1"/>
                  </a:solidFill>
                </a:defRPr>
              </a:lvl1pPr>
              <a:lvl2pPr>
                <a:defRPr>
                  <a:solidFill>
                    <a:schemeClr val="dk1"/>
                  </a:solidFill>
                </a:defRPr>
              </a:lvl2pPr>
              <a:lvl3pPr>
                <a:defRPr>
                  <a:solidFill>
                    <a:schemeClr val="dk1"/>
                  </a:solidFill>
                </a:defRPr>
              </a:lvl3pPr>
              <a:lvl4pPr>
                <a:defRPr>
                  <a:solidFill>
                    <a:schemeClr val="dk1"/>
                  </a:solidFill>
                </a:defRPr>
              </a:lvl4pPr>
              <a:lvl5pPr>
                <a:defRPr>
                  <a:solidFill>
                    <a:schemeClr val="dk1"/>
                  </a:solidFill>
                </a:defRPr>
              </a:lvl5pPr>
              <a:lvl6pPr>
                <a:defRPr>
                  <a:solidFill>
                    <a:schemeClr val="dk1"/>
                  </a:solidFill>
                </a:defRPr>
              </a:lvl6pPr>
              <a:lvl7pPr>
                <a:defRPr>
                  <a:solidFill>
                    <a:schemeClr val="dk1"/>
                  </a:solidFill>
                </a:defRPr>
              </a:lvl7pPr>
              <a:lvl8pPr>
                <a:defRPr>
                  <a:solidFill>
                    <a:schemeClr val="dk1"/>
                  </a:solidFill>
                </a:defRPr>
              </a:lvl8pPr>
              <a:lvl9pPr>
                <a:defRPr>
                  <a:solidFill>
                    <a:schemeClr val="dk1"/>
                  </a:solidFill>
                </a:defRPr>
              </a:lvl9pPr>
            </a:lstStyle>
            <a:p>
              <a:pPr algn="l">
                <a:lnSpc>
                  <a:spcPct val="150000"/>
                </a:lnSpc>
                <a:defRPr/>
              </a:pPr>
              <a:r>
                <a:rPr lang="pt-BR" sz="1000" dirty="0">
                  <a:solidFill>
                    <a:prstClr val="black"/>
                  </a:solidFill>
                  <a:latin typeface="Calibri" panose="020F0502020204030204"/>
                </a:rPr>
                <a:t>Dona da oportunidade: Maria Olívia</a:t>
              </a:r>
            </a:p>
            <a:p>
              <a:pPr algn="l">
                <a:lnSpc>
                  <a:spcPct val="150000"/>
                </a:lnSpc>
                <a:defRPr/>
              </a:pPr>
              <a:r>
                <a:rPr lang="pt-BR" sz="1000" dirty="0">
                  <a:solidFill>
                    <a:prstClr val="black"/>
                  </a:solidFill>
                  <a:latin typeface="Calibri" panose="020F0502020204030204"/>
                </a:rPr>
                <a:t>Arquiteto de negócio: Ricardo Bonfim</a:t>
              </a:r>
            </a:p>
            <a:p>
              <a:pPr algn="l">
                <a:lnSpc>
                  <a:spcPct val="150000"/>
                </a:lnSpc>
                <a:defRPr/>
              </a:pPr>
              <a:r>
                <a:rPr lang="pt-BR" sz="1000" dirty="0">
                  <a:solidFill>
                    <a:prstClr val="black"/>
                  </a:solidFill>
                  <a:latin typeface="Calibri" panose="020F0502020204030204"/>
                </a:rPr>
                <a:t>Arquiteto de TI: Vagner Berti</a:t>
              </a:r>
            </a:p>
            <a:p>
              <a:pPr algn="l">
                <a:lnSpc>
                  <a:spcPct val="150000"/>
                </a:lnSpc>
                <a:defRPr/>
              </a:pPr>
              <a:r>
                <a:rPr lang="pt-BR" sz="1000" dirty="0">
                  <a:solidFill>
                    <a:prstClr val="black"/>
                  </a:solidFill>
                  <a:latin typeface="Calibri" panose="020F0502020204030204"/>
                </a:rPr>
                <a:t>RTE (Release </a:t>
              </a:r>
              <a:r>
                <a:rPr lang="pt-BR" sz="1000" dirty="0" err="1">
                  <a:solidFill>
                    <a:prstClr val="black"/>
                  </a:solidFill>
                  <a:latin typeface="Calibri" panose="020F0502020204030204"/>
                </a:rPr>
                <a:t>Train</a:t>
              </a:r>
              <a:r>
                <a:rPr lang="pt-BR" sz="1000" dirty="0">
                  <a:solidFill>
                    <a:prstClr val="black"/>
                  </a:solidFill>
                  <a:latin typeface="Calibri" panose="020F0502020204030204"/>
                </a:rPr>
                <a:t> </a:t>
              </a:r>
              <a:r>
                <a:rPr lang="pt-BR" sz="1000" dirty="0" err="1">
                  <a:solidFill>
                    <a:prstClr val="black"/>
                  </a:solidFill>
                  <a:latin typeface="Calibri" panose="020F0502020204030204"/>
                </a:rPr>
                <a:t>Engineer</a:t>
              </a:r>
              <a:r>
                <a:rPr lang="pt-BR" sz="1000" dirty="0">
                  <a:solidFill>
                    <a:prstClr val="black"/>
                  </a:solidFill>
                  <a:latin typeface="Calibri" panose="020F0502020204030204"/>
                </a:rPr>
                <a:t>): Mael</a:t>
              </a:r>
            </a:p>
            <a:p>
              <a:pPr algn="l">
                <a:lnSpc>
                  <a:spcPct val="150000"/>
                </a:lnSpc>
                <a:defRPr/>
              </a:pPr>
              <a:r>
                <a:rPr lang="pt-BR" sz="1000" dirty="0" err="1">
                  <a:solidFill>
                    <a:prstClr val="black"/>
                  </a:solidFill>
                  <a:latin typeface="Calibri" panose="020F0502020204030204"/>
                </a:rPr>
                <a:t>Agile</a:t>
              </a:r>
              <a:r>
                <a:rPr lang="pt-BR" sz="1000" dirty="0">
                  <a:solidFill>
                    <a:prstClr val="black"/>
                  </a:solidFill>
                  <a:latin typeface="Calibri" panose="020F0502020204030204"/>
                </a:rPr>
                <a:t> Coach: Viviane de Souza</a:t>
              </a:r>
            </a:p>
          </p:txBody>
        </p:sp>
        <p:pic>
          <p:nvPicPr>
            <p:cNvPr id="94" name="Imagem 93">
              <a:extLst>
                <a:ext uri="{FF2B5EF4-FFF2-40B4-BE49-F238E27FC236}">
                  <a16:creationId xmlns:a16="http://schemas.microsoft.com/office/drawing/2014/main" id="{704258A5-274B-4B90-AB8B-57E206165789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235428" y="1978273"/>
              <a:ext cx="183388" cy="188459"/>
            </a:xfrm>
            <a:prstGeom prst="rect">
              <a:avLst/>
            </a:prstGeom>
          </p:spPr>
        </p:pic>
        <p:pic>
          <p:nvPicPr>
            <p:cNvPr id="95" name="Imagem 94">
              <a:extLst>
                <a:ext uri="{FF2B5EF4-FFF2-40B4-BE49-F238E27FC236}">
                  <a16:creationId xmlns:a16="http://schemas.microsoft.com/office/drawing/2014/main" id="{E0925BF0-168D-40F5-8AAB-91D287077F51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235428" y="2299733"/>
              <a:ext cx="183388" cy="188459"/>
            </a:xfrm>
            <a:prstGeom prst="rect">
              <a:avLst/>
            </a:prstGeom>
          </p:spPr>
        </p:pic>
        <p:pic>
          <p:nvPicPr>
            <p:cNvPr id="96" name="Imagem 95">
              <a:extLst>
                <a:ext uri="{FF2B5EF4-FFF2-40B4-BE49-F238E27FC236}">
                  <a16:creationId xmlns:a16="http://schemas.microsoft.com/office/drawing/2014/main" id="{57ED47BD-4684-4C53-B85A-8239CD51CAC3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231312" y="2589239"/>
              <a:ext cx="183388" cy="188459"/>
            </a:xfrm>
            <a:prstGeom prst="rect">
              <a:avLst/>
            </a:prstGeom>
          </p:spPr>
        </p:pic>
        <p:pic>
          <p:nvPicPr>
            <p:cNvPr id="97" name="Imagem 96">
              <a:extLst>
                <a:ext uri="{FF2B5EF4-FFF2-40B4-BE49-F238E27FC236}">
                  <a16:creationId xmlns:a16="http://schemas.microsoft.com/office/drawing/2014/main" id="{FFF717F6-3DDB-4466-BD27-00F07C44FAEC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225682" y="2909865"/>
              <a:ext cx="183388" cy="188459"/>
            </a:xfrm>
            <a:prstGeom prst="rect">
              <a:avLst/>
            </a:prstGeom>
          </p:spPr>
        </p:pic>
        <p:pic>
          <p:nvPicPr>
            <p:cNvPr id="98" name="Imagem 97">
              <a:extLst>
                <a:ext uri="{FF2B5EF4-FFF2-40B4-BE49-F238E27FC236}">
                  <a16:creationId xmlns:a16="http://schemas.microsoft.com/office/drawing/2014/main" id="{8F66BEAD-E1A6-45F3-BA19-B2EC05208E84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225682" y="3230491"/>
              <a:ext cx="183388" cy="188459"/>
            </a:xfrm>
            <a:prstGeom prst="rect">
              <a:avLst/>
            </a:prstGeom>
          </p:spPr>
        </p:pic>
      </p:grpSp>
      <p:pic>
        <p:nvPicPr>
          <p:cNvPr id="100" name="Imagem 99">
            <a:extLst>
              <a:ext uri="{FF2B5EF4-FFF2-40B4-BE49-F238E27FC236}">
                <a16:creationId xmlns:a16="http://schemas.microsoft.com/office/drawing/2014/main" id="{5F1842DF-2B71-4DDD-8BF9-BAE2DAA8609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05713" y="1142362"/>
            <a:ext cx="3030003" cy="2467230"/>
          </a:xfrm>
          <a:prstGeom prst="rect">
            <a:avLst/>
          </a:prstGeom>
        </p:spPr>
      </p:pic>
      <p:sp>
        <p:nvSpPr>
          <p:cNvPr id="101" name="CaixaDeTexto 100">
            <a:extLst>
              <a:ext uri="{FF2B5EF4-FFF2-40B4-BE49-F238E27FC236}">
                <a16:creationId xmlns:a16="http://schemas.microsoft.com/office/drawing/2014/main" id="{867D2AF3-A991-4B94-9F50-358105F6E733}"/>
              </a:ext>
            </a:extLst>
          </p:cNvPr>
          <p:cNvSpPr txBox="1"/>
          <p:nvPr/>
        </p:nvSpPr>
        <p:spPr>
          <a:xfrm>
            <a:off x="3045297" y="3857386"/>
            <a:ext cx="1980839" cy="8953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>
            <a:defPPr>
              <a:defRPr lang="pt-BR"/>
            </a:defPPr>
            <a:lvl1pPr algn="ctr">
              <a:defRPr sz="1333">
                <a:solidFill>
                  <a:schemeClr val="dk1"/>
                </a:solidFill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pPr algn="l">
              <a:defRPr/>
            </a:pPr>
            <a:r>
              <a:rPr lang="pt-BR" sz="1000" dirty="0">
                <a:solidFill>
                  <a:prstClr val="black"/>
                </a:solidFill>
                <a:latin typeface="Calibri" panose="020F0502020204030204"/>
              </a:rPr>
              <a:t>Product </a:t>
            </a:r>
            <a:r>
              <a:rPr lang="pt-BR" sz="1000" dirty="0" err="1">
                <a:solidFill>
                  <a:prstClr val="black"/>
                </a:solidFill>
                <a:latin typeface="Calibri" panose="020F0502020204030204"/>
              </a:rPr>
              <a:t>Leader</a:t>
            </a:r>
            <a:r>
              <a:rPr lang="pt-BR" sz="1000" dirty="0">
                <a:solidFill>
                  <a:prstClr val="black"/>
                </a:solidFill>
                <a:latin typeface="Calibri" panose="020F0502020204030204"/>
              </a:rPr>
              <a:t>: Maria Olívia</a:t>
            </a:r>
          </a:p>
          <a:p>
            <a:pPr algn="l">
              <a:defRPr/>
            </a:pPr>
            <a:r>
              <a:rPr lang="pt-BR" sz="1000" dirty="0">
                <a:solidFill>
                  <a:prstClr val="black"/>
                </a:solidFill>
                <a:latin typeface="Calibri" panose="020F0502020204030204"/>
              </a:rPr>
              <a:t>	      Isadora Brandão</a:t>
            </a:r>
          </a:p>
          <a:p>
            <a:pPr algn="l">
              <a:lnSpc>
                <a:spcPct val="150000"/>
              </a:lnSpc>
              <a:defRPr/>
            </a:pPr>
            <a:r>
              <a:rPr lang="pt-BR" sz="1000" dirty="0">
                <a:solidFill>
                  <a:prstClr val="black"/>
                </a:solidFill>
                <a:latin typeface="Calibri" panose="020F0502020204030204"/>
              </a:rPr>
              <a:t>Product Owner: Leonardo Giovelli</a:t>
            </a:r>
          </a:p>
          <a:p>
            <a:pPr algn="l">
              <a:lnSpc>
                <a:spcPct val="150000"/>
              </a:lnSpc>
              <a:defRPr/>
            </a:pPr>
            <a:r>
              <a:rPr lang="pt-BR" sz="1000" dirty="0">
                <a:solidFill>
                  <a:prstClr val="black"/>
                </a:solidFill>
                <a:latin typeface="Calibri" panose="020F0502020204030204"/>
              </a:rPr>
              <a:t>Product Owner: João Piccinini</a:t>
            </a:r>
          </a:p>
          <a:p>
            <a:pPr algn="l">
              <a:lnSpc>
                <a:spcPct val="150000"/>
              </a:lnSpc>
              <a:defRPr/>
            </a:pPr>
            <a:r>
              <a:rPr lang="pt-BR" sz="1000" dirty="0" err="1">
                <a:solidFill>
                  <a:prstClr val="black"/>
                </a:solidFill>
                <a:latin typeface="Calibri" panose="020F0502020204030204"/>
              </a:rPr>
              <a:t>Agile</a:t>
            </a:r>
            <a:r>
              <a:rPr lang="pt-BR" sz="1000" dirty="0">
                <a:solidFill>
                  <a:prstClr val="black"/>
                </a:solidFill>
                <a:latin typeface="Calibri" panose="020F0502020204030204"/>
              </a:rPr>
              <a:t> Master: Rafael Assmann</a:t>
            </a:r>
          </a:p>
        </p:txBody>
      </p:sp>
      <p:pic>
        <p:nvPicPr>
          <p:cNvPr id="103" name="Imagem 102">
            <a:extLst>
              <a:ext uri="{FF2B5EF4-FFF2-40B4-BE49-F238E27FC236}">
                <a16:creationId xmlns:a16="http://schemas.microsoft.com/office/drawing/2014/main" id="{9D13FC12-6A51-4EB0-AE1E-4CEBC8BE6515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49485" y="3817300"/>
            <a:ext cx="137541" cy="141344"/>
          </a:xfrm>
          <a:prstGeom prst="rect">
            <a:avLst/>
          </a:prstGeom>
        </p:spPr>
      </p:pic>
      <p:pic>
        <p:nvPicPr>
          <p:cNvPr id="104" name="Imagem 103">
            <a:extLst>
              <a:ext uri="{FF2B5EF4-FFF2-40B4-BE49-F238E27FC236}">
                <a16:creationId xmlns:a16="http://schemas.microsoft.com/office/drawing/2014/main" id="{7A074E23-3C19-4265-9E3B-7A1130FEB56D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49485" y="4167025"/>
            <a:ext cx="137541" cy="141344"/>
          </a:xfrm>
          <a:prstGeom prst="rect">
            <a:avLst/>
          </a:prstGeom>
        </p:spPr>
      </p:pic>
      <p:pic>
        <p:nvPicPr>
          <p:cNvPr id="105" name="Imagem 104">
            <a:extLst>
              <a:ext uri="{FF2B5EF4-FFF2-40B4-BE49-F238E27FC236}">
                <a16:creationId xmlns:a16="http://schemas.microsoft.com/office/drawing/2014/main" id="{8C156841-0F9F-445F-B1FC-0C0D6821AE04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46398" y="4393573"/>
            <a:ext cx="137541" cy="141344"/>
          </a:xfrm>
          <a:prstGeom prst="rect">
            <a:avLst/>
          </a:prstGeom>
        </p:spPr>
      </p:pic>
      <p:pic>
        <p:nvPicPr>
          <p:cNvPr id="106" name="Imagem 105">
            <a:extLst>
              <a:ext uri="{FF2B5EF4-FFF2-40B4-BE49-F238E27FC236}">
                <a16:creationId xmlns:a16="http://schemas.microsoft.com/office/drawing/2014/main" id="{9DB0F5C1-AAB2-4125-8A89-CCFC2A35E035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42176" y="4620120"/>
            <a:ext cx="137541" cy="141344"/>
          </a:xfrm>
          <a:prstGeom prst="rect">
            <a:avLst/>
          </a:prstGeom>
        </p:spPr>
      </p:pic>
      <p:sp>
        <p:nvSpPr>
          <p:cNvPr id="107" name="CaixaDeTexto 106">
            <a:extLst>
              <a:ext uri="{FF2B5EF4-FFF2-40B4-BE49-F238E27FC236}">
                <a16:creationId xmlns:a16="http://schemas.microsoft.com/office/drawing/2014/main" id="{9441E02F-B4CD-428F-A049-845A74AD885F}"/>
              </a:ext>
            </a:extLst>
          </p:cNvPr>
          <p:cNvSpPr txBox="1"/>
          <p:nvPr/>
        </p:nvSpPr>
        <p:spPr>
          <a:xfrm>
            <a:off x="4964263" y="1825549"/>
            <a:ext cx="3560615" cy="56193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txBody>
          <a:bodyPr rot="0" spcFirstLastPara="1" vertOverflow="overflow" horzOverflow="overflow" vert="horz" wrap="square" lIns="26789" tIns="26789" rIns="26789" bIns="26789" numCol="1" spcCol="38100" rtlCol="0" anchor="ctr">
            <a:spAutoFit/>
          </a:bodyPr>
          <a:lstStyle>
            <a:defPPr>
              <a:defRPr lang="pt-BR"/>
            </a:defPPr>
            <a:lvl1pPr algn="r" defTabSz="642915">
              <a:defRPr sz="2800" kern="0">
                <a:solidFill>
                  <a:schemeClr val="accent2">
                    <a:lumMod val="75000"/>
                  </a:schemeClr>
                </a:solidFill>
                <a:latin typeface="Lato Black" panose="020F0A02020204030203"/>
              </a:defRPr>
            </a:lvl1pPr>
          </a:lstStyle>
          <a:p>
            <a:pPr defTabSz="482186">
              <a:defRPr/>
            </a:pPr>
            <a:r>
              <a:rPr lang="pt-BR" sz="2100" dirty="0">
                <a:solidFill>
                  <a:srgbClr val="FF461E">
                    <a:lumMod val="75000"/>
                  </a:srgbClr>
                </a:solidFill>
              </a:rPr>
              <a:t>Ciclo de 10 dias</a:t>
            </a:r>
          </a:p>
          <a:p>
            <a:pPr defTabSz="482186">
              <a:defRPr/>
            </a:pPr>
            <a:r>
              <a:rPr lang="pt-BR" sz="1200" dirty="0">
                <a:solidFill>
                  <a:srgbClr val="FF461E">
                    <a:lumMod val="60000"/>
                    <a:lumOff val="40000"/>
                  </a:srgbClr>
                </a:solidFill>
              </a:rPr>
              <a:t>4ª Sprint em andamento</a:t>
            </a:r>
            <a:endParaRPr lang="pt-BR" sz="2100" dirty="0">
              <a:solidFill>
                <a:srgbClr val="FF461E">
                  <a:lumMod val="60000"/>
                  <a:lumOff val="40000"/>
                </a:srgbClr>
              </a:solidFill>
            </a:endParaRPr>
          </a:p>
        </p:txBody>
      </p:sp>
      <p:sp>
        <p:nvSpPr>
          <p:cNvPr id="108" name="CaixaDeTexto 107">
            <a:extLst>
              <a:ext uri="{FF2B5EF4-FFF2-40B4-BE49-F238E27FC236}">
                <a16:creationId xmlns:a16="http://schemas.microsoft.com/office/drawing/2014/main" id="{BBD27EE7-A496-45E9-A8F1-F1BC9D2567DA}"/>
              </a:ext>
            </a:extLst>
          </p:cNvPr>
          <p:cNvSpPr txBox="1"/>
          <p:nvPr/>
        </p:nvSpPr>
        <p:spPr>
          <a:xfrm>
            <a:off x="5816182" y="3257818"/>
            <a:ext cx="2663657" cy="111593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txBody>
          <a:bodyPr rot="0" spcFirstLastPara="1" vertOverflow="overflow" horzOverflow="overflow" vert="horz" wrap="square" lIns="26789" tIns="26789" rIns="26789" bIns="26789" numCol="1" spcCol="38100" rtlCol="0" anchor="ctr">
            <a:spAutoFit/>
          </a:bodyPr>
          <a:lstStyle>
            <a:defPPr>
              <a:defRPr lang="pt-BR"/>
            </a:defPPr>
            <a:lvl1pPr algn="r" defTabSz="642915">
              <a:defRPr sz="2800" kern="0">
                <a:solidFill>
                  <a:schemeClr val="accent2">
                    <a:lumMod val="75000"/>
                  </a:schemeClr>
                </a:solidFill>
                <a:latin typeface="Lato Black" panose="020F0A02020204030203"/>
              </a:defRPr>
            </a:lvl1pPr>
          </a:lstStyle>
          <a:p>
            <a:pPr defTabSz="482186">
              <a:defRPr/>
            </a:pPr>
            <a:r>
              <a:rPr lang="pt-BR" sz="2100" dirty="0">
                <a:solidFill>
                  <a:srgbClr val="FF461E">
                    <a:lumMod val="75000"/>
                  </a:srgbClr>
                </a:solidFill>
              </a:rPr>
              <a:t>5 times  </a:t>
            </a:r>
          </a:p>
          <a:p>
            <a:pPr defTabSz="482186">
              <a:defRPr/>
            </a:pPr>
            <a:r>
              <a:rPr lang="pt-BR" sz="1200" dirty="0">
                <a:solidFill>
                  <a:srgbClr val="FF461E">
                    <a:lumMod val="60000"/>
                    <a:lumOff val="40000"/>
                  </a:srgbClr>
                </a:solidFill>
              </a:rPr>
              <a:t>QA, UX e </a:t>
            </a:r>
            <a:r>
              <a:rPr lang="pt-BR" sz="1200" dirty="0" err="1">
                <a:solidFill>
                  <a:srgbClr val="FF461E">
                    <a:lumMod val="60000"/>
                    <a:lumOff val="40000"/>
                  </a:srgbClr>
                </a:solidFill>
              </a:rPr>
              <a:t>Devops</a:t>
            </a:r>
            <a:endParaRPr lang="pt-BR" sz="1200" dirty="0">
              <a:solidFill>
                <a:srgbClr val="FF461E">
                  <a:lumMod val="60000"/>
                  <a:lumOff val="40000"/>
                </a:srgbClr>
              </a:solidFill>
            </a:endParaRPr>
          </a:p>
          <a:p>
            <a:pPr defTabSz="482186">
              <a:defRPr/>
            </a:pPr>
            <a:r>
              <a:rPr lang="pt-BR" sz="1200" dirty="0">
                <a:solidFill>
                  <a:srgbClr val="FF461E">
                    <a:lumMod val="60000"/>
                    <a:lumOff val="40000"/>
                  </a:srgbClr>
                </a:solidFill>
              </a:rPr>
              <a:t>Garantia testes automatizados</a:t>
            </a:r>
          </a:p>
          <a:p>
            <a:pPr defTabSz="482186">
              <a:defRPr/>
            </a:pPr>
            <a:r>
              <a:rPr lang="pt-BR" sz="1200" dirty="0">
                <a:solidFill>
                  <a:srgbClr val="FF461E">
                    <a:lumMod val="60000"/>
                    <a:lumOff val="40000"/>
                  </a:srgbClr>
                </a:solidFill>
              </a:rPr>
              <a:t>Foco na experiência do Usuário</a:t>
            </a:r>
          </a:p>
          <a:p>
            <a:pPr defTabSz="482186">
              <a:defRPr/>
            </a:pPr>
            <a:r>
              <a:rPr lang="pt-BR" sz="1200" dirty="0" err="1">
                <a:solidFill>
                  <a:srgbClr val="FF461E">
                    <a:lumMod val="60000"/>
                    <a:lumOff val="40000"/>
                  </a:srgbClr>
                </a:solidFill>
              </a:rPr>
              <a:t>Continuos</a:t>
            </a:r>
            <a:r>
              <a:rPr lang="pt-BR" sz="1200" dirty="0">
                <a:solidFill>
                  <a:srgbClr val="FF461E">
                    <a:lumMod val="60000"/>
                    <a:lumOff val="40000"/>
                  </a:srgbClr>
                </a:solidFill>
              </a:rPr>
              <a:t> Deployment</a:t>
            </a:r>
          </a:p>
        </p:txBody>
      </p:sp>
      <p:sp>
        <p:nvSpPr>
          <p:cNvPr id="109" name="CaixaDeTexto 108">
            <a:extLst>
              <a:ext uri="{FF2B5EF4-FFF2-40B4-BE49-F238E27FC236}">
                <a16:creationId xmlns:a16="http://schemas.microsoft.com/office/drawing/2014/main" id="{0FF50E30-CE0A-438D-A70C-8282AAA93145}"/>
              </a:ext>
            </a:extLst>
          </p:cNvPr>
          <p:cNvSpPr txBox="1"/>
          <p:nvPr/>
        </p:nvSpPr>
        <p:spPr>
          <a:xfrm>
            <a:off x="4491400" y="1161624"/>
            <a:ext cx="4038094" cy="37726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txBody>
          <a:bodyPr rot="0" spcFirstLastPara="1" vertOverflow="overflow" horzOverflow="overflow" vert="horz" wrap="square" lIns="26789" tIns="26789" rIns="26789" bIns="26789" numCol="1" spcCol="38100" rtlCol="0" anchor="ctr">
            <a:spAutoFit/>
          </a:bodyPr>
          <a:lstStyle/>
          <a:p>
            <a:pPr algn="r" defTabSz="482186">
              <a:defRPr/>
            </a:pPr>
            <a:r>
              <a:rPr lang="pt-BR" sz="2100" kern="0" dirty="0">
                <a:solidFill>
                  <a:srgbClr val="FF461E">
                    <a:lumMod val="75000"/>
                  </a:srgbClr>
                </a:solidFill>
                <a:latin typeface="Lato Black" panose="020F0A02020204030203"/>
              </a:rPr>
              <a:t>Time mapeado em janeiro</a:t>
            </a:r>
          </a:p>
        </p:txBody>
      </p:sp>
      <p:sp>
        <p:nvSpPr>
          <p:cNvPr id="110" name="CaixaDeTexto 109">
            <a:extLst>
              <a:ext uri="{FF2B5EF4-FFF2-40B4-BE49-F238E27FC236}">
                <a16:creationId xmlns:a16="http://schemas.microsoft.com/office/drawing/2014/main" id="{B7BEF8E6-509B-463F-8F2B-04A57D7E728E}"/>
              </a:ext>
            </a:extLst>
          </p:cNvPr>
          <p:cNvSpPr txBox="1"/>
          <p:nvPr/>
        </p:nvSpPr>
        <p:spPr>
          <a:xfrm>
            <a:off x="4491400" y="1493268"/>
            <a:ext cx="4038094" cy="23876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txBody>
          <a:bodyPr rot="0" spcFirstLastPara="1" vertOverflow="overflow" horzOverflow="overflow" vert="horz" wrap="square" lIns="26789" tIns="26789" rIns="26789" bIns="26789" numCol="1" spcCol="38100" rtlCol="0" anchor="ctr">
            <a:spAutoFit/>
          </a:bodyPr>
          <a:lstStyle/>
          <a:p>
            <a:pPr algn="r" defTabSz="482186">
              <a:defRPr/>
            </a:pPr>
            <a:r>
              <a:rPr lang="pt-BR" sz="1200" kern="0" dirty="0">
                <a:solidFill>
                  <a:srgbClr val="FF461E">
                    <a:lumMod val="60000"/>
                    <a:lumOff val="40000"/>
                  </a:srgbClr>
                </a:solidFill>
                <a:latin typeface="Lato Black" panose="020F0A02020204030203"/>
              </a:rPr>
              <a:t>Início transição em fevereiro</a:t>
            </a:r>
          </a:p>
        </p:txBody>
      </p:sp>
      <p:sp>
        <p:nvSpPr>
          <p:cNvPr id="112" name="CaixaDeTexto 111">
            <a:extLst>
              <a:ext uri="{FF2B5EF4-FFF2-40B4-BE49-F238E27FC236}">
                <a16:creationId xmlns:a16="http://schemas.microsoft.com/office/drawing/2014/main" id="{4DE94980-226E-477B-986B-80F3EEBD4036}"/>
              </a:ext>
            </a:extLst>
          </p:cNvPr>
          <p:cNvSpPr txBox="1"/>
          <p:nvPr/>
        </p:nvSpPr>
        <p:spPr>
          <a:xfrm>
            <a:off x="5635181" y="2480995"/>
            <a:ext cx="2844658" cy="74659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txBody>
          <a:bodyPr rot="0" spcFirstLastPara="1" vertOverflow="overflow" horzOverflow="overflow" vert="horz" wrap="square" lIns="26789" tIns="26789" rIns="26789" bIns="26789" numCol="1" spcCol="38100" rtlCol="0" anchor="ctr">
            <a:spAutoFit/>
          </a:bodyPr>
          <a:lstStyle>
            <a:defPPr>
              <a:defRPr lang="pt-BR"/>
            </a:defPPr>
            <a:lvl1pPr algn="r" defTabSz="642915">
              <a:defRPr sz="2800" kern="0">
                <a:solidFill>
                  <a:schemeClr val="accent2">
                    <a:lumMod val="75000"/>
                  </a:schemeClr>
                </a:solidFill>
                <a:latin typeface="Lato Black" panose="020F0A02020204030203"/>
              </a:defRPr>
            </a:lvl1pPr>
          </a:lstStyle>
          <a:p>
            <a:pPr defTabSz="482186">
              <a:defRPr/>
            </a:pPr>
            <a:r>
              <a:rPr lang="pt-BR" sz="2100" dirty="0">
                <a:solidFill>
                  <a:srgbClr val="FF461E">
                    <a:lumMod val="75000"/>
                  </a:srgbClr>
                </a:solidFill>
              </a:rPr>
              <a:t>3 Releases planejadas</a:t>
            </a:r>
          </a:p>
          <a:p>
            <a:pPr defTabSz="482186">
              <a:defRPr/>
            </a:pPr>
            <a:r>
              <a:rPr lang="pt-BR" sz="1200" dirty="0">
                <a:solidFill>
                  <a:srgbClr val="FF461E">
                    <a:lumMod val="60000"/>
                    <a:lumOff val="40000"/>
                  </a:srgbClr>
                </a:solidFill>
              </a:rPr>
              <a:t>Pactuadas entre times e dono da oportunidade</a:t>
            </a:r>
          </a:p>
        </p:txBody>
      </p:sp>
    </p:spTree>
    <p:extLst>
      <p:ext uri="{BB962C8B-B14F-4D97-AF65-F5344CB8AC3E}">
        <p14:creationId xmlns:p14="http://schemas.microsoft.com/office/powerpoint/2010/main" val="8633477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Pentágono 10">
            <a:extLst>
              <a:ext uri="{FF2B5EF4-FFF2-40B4-BE49-F238E27FC236}">
                <a16:creationId xmlns:a16="http://schemas.microsoft.com/office/drawing/2014/main" id="{C85269FB-3A7A-4175-9A5A-10D77EC00EF7}"/>
              </a:ext>
            </a:extLst>
          </p:cNvPr>
          <p:cNvSpPr/>
          <p:nvPr/>
        </p:nvSpPr>
        <p:spPr>
          <a:xfrm>
            <a:off x="5606393" y="4531257"/>
            <a:ext cx="2468075" cy="435648"/>
          </a:xfrm>
          <a:prstGeom prst="homePlate">
            <a:avLst>
              <a:gd name="adj" fmla="val 23764"/>
            </a:avLst>
          </a:prstGeom>
          <a:solidFill>
            <a:schemeClr val="accent1">
              <a:lumMod val="50000"/>
            </a:schemeClr>
          </a:solidFill>
          <a:ln w="762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16000" rIns="216000" rtlCol="0" anchor="ctr"/>
          <a:lstStyle/>
          <a:p>
            <a:pPr algn="ctr">
              <a:lnSpc>
                <a:spcPct val="70000"/>
              </a:lnSpc>
              <a:defRPr/>
            </a:pPr>
            <a:r>
              <a:rPr lang="pt-BR" sz="1100" dirty="0">
                <a:solidFill>
                  <a:prstClr val="white"/>
                </a:solidFill>
                <a:latin typeface="Tw Cen MT Condensed" panose="020B0606020104020203" pitchFamily="34" charset="0"/>
              </a:rPr>
              <a:t>Sustentação e Melhoria Contínua</a:t>
            </a:r>
          </a:p>
        </p:txBody>
      </p:sp>
      <p:sp>
        <p:nvSpPr>
          <p:cNvPr id="35" name="Divisa 161">
            <a:extLst>
              <a:ext uri="{FF2B5EF4-FFF2-40B4-BE49-F238E27FC236}">
                <a16:creationId xmlns:a16="http://schemas.microsoft.com/office/drawing/2014/main" id="{66F90E2C-E917-48E9-8207-F572230C5E88}"/>
              </a:ext>
            </a:extLst>
          </p:cNvPr>
          <p:cNvSpPr/>
          <p:nvPr/>
        </p:nvSpPr>
        <p:spPr>
          <a:xfrm rot="10800000" flipH="1" flipV="1">
            <a:off x="3628579" y="4532705"/>
            <a:ext cx="2077415" cy="435600"/>
          </a:xfrm>
          <a:prstGeom prst="chevron">
            <a:avLst>
              <a:gd name="adj" fmla="val 23545"/>
            </a:avLst>
          </a:prstGeom>
          <a:solidFill>
            <a:schemeClr val="accent1">
              <a:lumMod val="50000"/>
            </a:schemeClr>
          </a:solidFill>
          <a:ln w="762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16000" rIns="216000" rtlCol="0" anchor="ctr"/>
          <a:lstStyle/>
          <a:p>
            <a:pPr algn="ctr">
              <a:lnSpc>
                <a:spcPct val="70000"/>
              </a:lnSpc>
              <a:defRPr/>
            </a:pPr>
            <a:r>
              <a:rPr lang="pt-BR" sz="1100" dirty="0">
                <a:solidFill>
                  <a:prstClr val="white"/>
                </a:solidFill>
                <a:latin typeface="Tw Cen MT Condensed" panose="020B0606020104020203" pitchFamily="34" charset="0"/>
              </a:rPr>
              <a:t>Estender para Planejamento</a:t>
            </a:r>
          </a:p>
        </p:txBody>
      </p:sp>
      <p:sp>
        <p:nvSpPr>
          <p:cNvPr id="36" name="Retângulo de cantos arredondados 6">
            <a:extLst>
              <a:ext uri="{FF2B5EF4-FFF2-40B4-BE49-F238E27FC236}">
                <a16:creationId xmlns:a16="http://schemas.microsoft.com/office/drawing/2014/main" id="{E02CB93C-0D54-4EEC-A4D8-1665892B1795}"/>
              </a:ext>
            </a:extLst>
          </p:cNvPr>
          <p:cNvSpPr/>
          <p:nvPr/>
        </p:nvSpPr>
        <p:spPr>
          <a:xfrm>
            <a:off x="890471" y="2320606"/>
            <a:ext cx="552373" cy="208595"/>
          </a:xfrm>
          <a:prstGeom prst="roundRect">
            <a:avLst>
              <a:gd name="adj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rtlCol="0" anchor="ctr"/>
          <a:lstStyle/>
          <a:p>
            <a:pPr>
              <a:defRPr/>
            </a:pPr>
            <a:r>
              <a:rPr lang="pt-BR" sz="1050" dirty="0">
                <a:solidFill>
                  <a:prstClr val="white"/>
                </a:solidFill>
                <a:latin typeface="Tw Cen MT Condensed" panose="020B0606020104020203" pitchFamily="34" charset="0"/>
              </a:rPr>
              <a:t>HUB</a:t>
            </a:r>
          </a:p>
        </p:txBody>
      </p:sp>
      <p:sp>
        <p:nvSpPr>
          <p:cNvPr id="40" name="Retângulo de cantos arredondados 140">
            <a:extLst>
              <a:ext uri="{FF2B5EF4-FFF2-40B4-BE49-F238E27FC236}">
                <a16:creationId xmlns:a16="http://schemas.microsoft.com/office/drawing/2014/main" id="{1CB9F6F2-842A-4637-861F-4285930BD421}"/>
              </a:ext>
            </a:extLst>
          </p:cNvPr>
          <p:cNvSpPr/>
          <p:nvPr/>
        </p:nvSpPr>
        <p:spPr>
          <a:xfrm>
            <a:off x="4934553" y="2180360"/>
            <a:ext cx="2517154" cy="457200"/>
          </a:xfrm>
          <a:prstGeom prst="roundRect">
            <a:avLst>
              <a:gd name="adj" fmla="val 45363"/>
            </a:avLst>
          </a:prstGeom>
          <a:solidFill>
            <a:schemeClr val="bg1">
              <a:lumMod val="7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lIns="324000" tIns="36000" rIns="72000" bIns="36000" rtlCol="0" anchor="ctr"/>
          <a:lstStyle/>
          <a:p>
            <a:pPr algn="ctr">
              <a:defRPr/>
            </a:pPr>
            <a:r>
              <a:rPr lang="pt-BR" sz="1000" dirty="0">
                <a:solidFill>
                  <a:prstClr val="white"/>
                </a:solidFill>
                <a:latin typeface="Tw Cen MT Condensed" panose="020B0606020104020203" pitchFamily="34" charset="0"/>
              </a:rPr>
              <a:t>Produtos e Serviços</a:t>
            </a:r>
          </a:p>
        </p:txBody>
      </p:sp>
      <p:sp>
        <p:nvSpPr>
          <p:cNvPr id="41" name="Retângulo de cantos arredondados 139">
            <a:extLst>
              <a:ext uri="{FF2B5EF4-FFF2-40B4-BE49-F238E27FC236}">
                <a16:creationId xmlns:a16="http://schemas.microsoft.com/office/drawing/2014/main" id="{C2654BF1-9BF4-421D-87ED-A4B5577A29C8}"/>
              </a:ext>
            </a:extLst>
          </p:cNvPr>
          <p:cNvSpPr/>
          <p:nvPr/>
        </p:nvSpPr>
        <p:spPr>
          <a:xfrm>
            <a:off x="4219523" y="2180360"/>
            <a:ext cx="1465385" cy="457200"/>
          </a:xfrm>
          <a:prstGeom prst="roundRect">
            <a:avLst>
              <a:gd name="adj" fmla="val 45363"/>
            </a:avLst>
          </a:prstGeom>
          <a:solidFill>
            <a:schemeClr val="bg1">
              <a:lumMod val="7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lIns="324000" tIns="36000" rIns="72000" bIns="36000" rtlCol="0" anchor="ctr"/>
          <a:lstStyle/>
          <a:p>
            <a:pPr algn="ctr">
              <a:defRPr/>
            </a:pPr>
            <a:r>
              <a:rPr lang="pt-BR" sz="1000" dirty="0">
                <a:solidFill>
                  <a:prstClr val="white"/>
                </a:solidFill>
                <a:latin typeface="Tw Cen MT Condensed" panose="020B0606020104020203" pitchFamily="34" charset="0"/>
              </a:rPr>
              <a:t>Coach</a:t>
            </a:r>
          </a:p>
        </p:txBody>
      </p:sp>
      <p:sp>
        <p:nvSpPr>
          <p:cNvPr id="42" name="Semicírculos 12">
            <a:extLst>
              <a:ext uri="{FF2B5EF4-FFF2-40B4-BE49-F238E27FC236}">
                <a16:creationId xmlns:a16="http://schemas.microsoft.com/office/drawing/2014/main" id="{93606617-BBD9-4CCE-BF6E-607430C328F5}"/>
              </a:ext>
            </a:extLst>
          </p:cNvPr>
          <p:cNvSpPr/>
          <p:nvPr/>
        </p:nvSpPr>
        <p:spPr>
          <a:xfrm rot="16200000" flipH="1">
            <a:off x="765581" y="3098946"/>
            <a:ext cx="1992849" cy="1743070"/>
          </a:xfrm>
          <a:prstGeom prst="blockArc">
            <a:avLst>
              <a:gd name="adj1" fmla="val 10819408"/>
              <a:gd name="adj2" fmla="val 0"/>
              <a:gd name="adj3" fmla="val 25000"/>
            </a:avLst>
          </a:prstGeom>
          <a:solidFill>
            <a:schemeClr val="accent1">
              <a:lumMod val="50000"/>
            </a:schemeClr>
          </a:solidFill>
          <a:ln w="762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16000" tIns="45720" rIns="21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pt-BR" sz="1100">
              <a:solidFill>
                <a:prstClr val="white"/>
              </a:solidFill>
              <a:latin typeface="Tw Cen MT Condensed" panose="020B0606020104020203" pitchFamily="34" charset="0"/>
            </a:endParaRPr>
          </a:p>
        </p:txBody>
      </p:sp>
      <p:sp>
        <p:nvSpPr>
          <p:cNvPr id="43" name="Semicírculos 14">
            <a:extLst>
              <a:ext uri="{FF2B5EF4-FFF2-40B4-BE49-F238E27FC236}">
                <a16:creationId xmlns:a16="http://schemas.microsoft.com/office/drawing/2014/main" id="{4F6901B4-4163-47D7-A88F-1CB8D14D5286}"/>
              </a:ext>
            </a:extLst>
          </p:cNvPr>
          <p:cNvSpPr/>
          <p:nvPr/>
        </p:nvSpPr>
        <p:spPr>
          <a:xfrm rot="5400000">
            <a:off x="6341312" y="1551099"/>
            <a:ext cx="1992849" cy="1743070"/>
          </a:xfrm>
          <a:prstGeom prst="blockArc">
            <a:avLst>
              <a:gd name="adj1" fmla="val 10819408"/>
              <a:gd name="adj2" fmla="val 0"/>
              <a:gd name="adj3" fmla="val 25000"/>
            </a:avLst>
          </a:prstGeom>
          <a:solidFill>
            <a:schemeClr val="accent5">
              <a:lumMod val="50000"/>
            </a:schemeClr>
          </a:solidFill>
          <a:ln w="762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16000" tIns="45720" rIns="21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pt-BR" sz="1100" dirty="0">
              <a:solidFill>
                <a:prstClr val="white"/>
              </a:solidFill>
              <a:latin typeface="Tw Cen MT Condensed" panose="020B0606020104020203" pitchFamily="34" charset="0"/>
            </a:endParaRPr>
          </a:p>
        </p:txBody>
      </p:sp>
      <p:sp>
        <p:nvSpPr>
          <p:cNvPr id="44" name="Divisa 16">
            <a:extLst>
              <a:ext uri="{FF2B5EF4-FFF2-40B4-BE49-F238E27FC236}">
                <a16:creationId xmlns:a16="http://schemas.microsoft.com/office/drawing/2014/main" id="{541C52E2-A62B-42D6-B178-5B78326A465C}"/>
              </a:ext>
            </a:extLst>
          </p:cNvPr>
          <p:cNvSpPr/>
          <p:nvPr/>
        </p:nvSpPr>
        <p:spPr>
          <a:xfrm rot="10800000" flipV="1">
            <a:off x="5525932" y="2978694"/>
            <a:ext cx="1933196" cy="435600"/>
          </a:xfrm>
          <a:prstGeom prst="chevron">
            <a:avLst>
              <a:gd name="adj" fmla="val 23545"/>
            </a:avLst>
          </a:prstGeom>
          <a:solidFill>
            <a:schemeClr val="accent1">
              <a:lumMod val="75000"/>
            </a:schemeClr>
          </a:solidFill>
          <a:ln w="762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16000" rIns="216000" rtlCol="0" anchor="ctr"/>
          <a:lstStyle/>
          <a:p>
            <a:pPr algn="ctr">
              <a:lnSpc>
                <a:spcPct val="70000"/>
              </a:lnSpc>
              <a:defRPr/>
            </a:pPr>
            <a:r>
              <a:rPr lang="pt-BR" sz="1100" dirty="0">
                <a:solidFill>
                  <a:prstClr val="white"/>
                </a:solidFill>
                <a:latin typeface="Tw Cen MT Condensed" panose="020B0606020104020203" pitchFamily="34" charset="0"/>
              </a:rPr>
              <a:t>Implementar Lean Portfólio</a:t>
            </a:r>
          </a:p>
        </p:txBody>
      </p:sp>
      <p:sp>
        <p:nvSpPr>
          <p:cNvPr id="45" name="Divisa 20">
            <a:extLst>
              <a:ext uri="{FF2B5EF4-FFF2-40B4-BE49-F238E27FC236}">
                <a16:creationId xmlns:a16="http://schemas.microsoft.com/office/drawing/2014/main" id="{ECB0780A-7A6F-4575-8ABB-FAF0CDEBB694}"/>
              </a:ext>
            </a:extLst>
          </p:cNvPr>
          <p:cNvSpPr/>
          <p:nvPr/>
        </p:nvSpPr>
        <p:spPr>
          <a:xfrm rot="10800000" flipH="1" flipV="1">
            <a:off x="1668183" y="4532705"/>
            <a:ext cx="2077415" cy="435600"/>
          </a:xfrm>
          <a:prstGeom prst="chevron">
            <a:avLst>
              <a:gd name="adj" fmla="val 23545"/>
            </a:avLst>
          </a:prstGeom>
          <a:solidFill>
            <a:schemeClr val="accent1">
              <a:lumMod val="50000"/>
            </a:schemeClr>
          </a:solidFill>
          <a:ln w="762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16000" rIns="216000" rtlCol="0" anchor="ctr"/>
          <a:lstStyle/>
          <a:p>
            <a:pPr algn="ctr">
              <a:lnSpc>
                <a:spcPct val="70000"/>
              </a:lnSpc>
              <a:defRPr/>
            </a:pPr>
            <a:r>
              <a:rPr lang="pt-BR" sz="1100" dirty="0">
                <a:solidFill>
                  <a:prstClr val="white"/>
                </a:solidFill>
                <a:latin typeface="Tw Cen MT Condensed" panose="020B0606020104020203" pitchFamily="34" charset="0"/>
              </a:rPr>
              <a:t>Lançar novos programas</a:t>
            </a:r>
          </a:p>
        </p:txBody>
      </p:sp>
      <p:sp>
        <p:nvSpPr>
          <p:cNvPr id="46" name="Retângulo 45">
            <a:extLst>
              <a:ext uri="{FF2B5EF4-FFF2-40B4-BE49-F238E27FC236}">
                <a16:creationId xmlns:a16="http://schemas.microsoft.com/office/drawing/2014/main" id="{AD153C8B-94B9-4581-B53B-42A0452502E8}"/>
              </a:ext>
            </a:extLst>
          </p:cNvPr>
          <p:cNvSpPr/>
          <p:nvPr/>
        </p:nvSpPr>
        <p:spPr>
          <a:xfrm rot="5400000">
            <a:off x="6540308" y="1746921"/>
            <a:ext cx="1526379" cy="1360449"/>
          </a:xfrm>
          <a:prstGeom prst="rect">
            <a:avLst/>
          </a:prstGeom>
        </p:spPr>
        <p:txBody>
          <a:bodyPr wrap="none">
            <a:prstTxWarp prst="textArchUp">
              <a:avLst>
                <a:gd name="adj" fmla="val 11668898"/>
              </a:avLst>
            </a:prstTxWarp>
            <a:spAutoFit/>
          </a:bodyPr>
          <a:lstStyle/>
          <a:p>
            <a:pPr algn="ctr">
              <a:defRPr/>
            </a:pPr>
            <a:r>
              <a:rPr lang="pt-BR" sz="1100" dirty="0">
                <a:solidFill>
                  <a:prstClr val="white"/>
                </a:solidFill>
                <a:latin typeface="Tw Cen MT Condensed" panose="020B0606020104020203" pitchFamily="34" charset="0"/>
              </a:rPr>
              <a:t>Realizar certificações dos papéis</a:t>
            </a:r>
          </a:p>
        </p:txBody>
      </p:sp>
      <p:sp>
        <p:nvSpPr>
          <p:cNvPr id="47" name="Retângulo 46">
            <a:extLst>
              <a:ext uri="{FF2B5EF4-FFF2-40B4-BE49-F238E27FC236}">
                <a16:creationId xmlns:a16="http://schemas.microsoft.com/office/drawing/2014/main" id="{C12CDC21-8E1A-4767-9180-1BF95CEE4928}"/>
              </a:ext>
            </a:extLst>
          </p:cNvPr>
          <p:cNvSpPr/>
          <p:nvPr/>
        </p:nvSpPr>
        <p:spPr>
          <a:xfrm rot="5400000">
            <a:off x="1050787" y="3250306"/>
            <a:ext cx="1526379" cy="1468252"/>
          </a:xfrm>
          <a:prstGeom prst="rect">
            <a:avLst/>
          </a:prstGeom>
        </p:spPr>
        <p:txBody>
          <a:bodyPr wrap="none">
            <a:prstTxWarp prst="textArchDown">
              <a:avLst/>
            </a:prstTxWarp>
            <a:spAutoFit/>
          </a:bodyPr>
          <a:lstStyle/>
          <a:p>
            <a:pPr algn="ctr">
              <a:defRPr/>
            </a:pPr>
            <a:r>
              <a:rPr lang="pt-BR" sz="1100" dirty="0" err="1">
                <a:solidFill>
                  <a:prstClr val="white"/>
                </a:solidFill>
                <a:latin typeface="Tw Cen MT Condensed" panose="020B0606020104020203" pitchFamily="34" charset="0"/>
              </a:rPr>
              <a:t>Coach</a:t>
            </a:r>
            <a:r>
              <a:rPr lang="pt-BR" sz="1100" dirty="0">
                <a:solidFill>
                  <a:prstClr val="white"/>
                </a:solidFill>
                <a:latin typeface="Tw Cen MT Condensed" panose="020B0606020104020203" pitchFamily="34" charset="0"/>
              </a:rPr>
              <a:t> durante a execução do Programa</a:t>
            </a:r>
          </a:p>
        </p:txBody>
      </p:sp>
      <p:sp>
        <p:nvSpPr>
          <p:cNvPr id="49" name="Divisa 109">
            <a:extLst>
              <a:ext uri="{FF2B5EF4-FFF2-40B4-BE49-F238E27FC236}">
                <a16:creationId xmlns:a16="http://schemas.microsoft.com/office/drawing/2014/main" id="{61FB0885-C491-454C-AB2F-49D271A63B25}"/>
              </a:ext>
            </a:extLst>
          </p:cNvPr>
          <p:cNvSpPr/>
          <p:nvPr/>
        </p:nvSpPr>
        <p:spPr>
          <a:xfrm flipH="1">
            <a:off x="7142638" y="2705318"/>
            <a:ext cx="122629" cy="164850"/>
          </a:xfrm>
          <a:prstGeom prst="chevron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pt-BR" sz="900" dirty="0">
              <a:solidFill>
                <a:prstClr val="black"/>
              </a:solidFill>
              <a:latin typeface="Tw Cen MT Condensed" panose="020B0606020104020203" pitchFamily="34" charset="0"/>
            </a:endParaRPr>
          </a:p>
        </p:txBody>
      </p:sp>
      <p:sp>
        <p:nvSpPr>
          <p:cNvPr id="50" name="Divisa 110">
            <a:extLst>
              <a:ext uri="{FF2B5EF4-FFF2-40B4-BE49-F238E27FC236}">
                <a16:creationId xmlns:a16="http://schemas.microsoft.com/office/drawing/2014/main" id="{121A3C28-7CC6-4A9D-81FF-D802BD0795D6}"/>
              </a:ext>
            </a:extLst>
          </p:cNvPr>
          <p:cNvSpPr/>
          <p:nvPr/>
        </p:nvSpPr>
        <p:spPr>
          <a:xfrm flipH="1">
            <a:off x="7035069" y="2705318"/>
            <a:ext cx="122629" cy="164850"/>
          </a:xfrm>
          <a:prstGeom prst="chevron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pt-BR" sz="900" dirty="0">
              <a:solidFill>
                <a:prstClr val="black"/>
              </a:solidFill>
              <a:latin typeface="Tw Cen MT Condensed" panose="020B0606020104020203" pitchFamily="34" charset="0"/>
            </a:endParaRPr>
          </a:p>
        </p:txBody>
      </p:sp>
      <p:sp>
        <p:nvSpPr>
          <p:cNvPr id="51" name="Divisa 111">
            <a:extLst>
              <a:ext uri="{FF2B5EF4-FFF2-40B4-BE49-F238E27FC236}">
                <a16:creationId xmlns:a16="http://schemas.microsoft.com/office/drawing/2014/main" id="{5A924B2C-17A5-47AE-BD59-BE8DB9A3B236}"/>
              </a:ext>
            </a:extLst>
          </p:cNvPr>
          <p:cNvSpPr/>
          <p:nvPr/>
        </p:nvSpPr>
        <p:spPr>
          <a:xfrm flipH="1">
            <a:off x="6927500" y="2705318"/>
            <a:ext cx="122629" cy="164850"/>
          </a:xfrm>
          <a:prstGeom prst="chevron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pt-BR" sz="900" dirty="0">
              <a:solidFill>
                <a:prstClr val="black"/>
              </a:solidFill>
              <a:latin typeface="Tw Cen MT Condensed" panose="020B0606020104020203" pitchFamily="34" charset="0"/>
            </a:endParaRPr>
          </a:p>
        </p:txBody>
      </p:sp>
      <p:sp>
        <p:nvSpPr>
          <p:cNvPr id="55" name="Divisa 21">
            <a:extLst>
              <a:ext uri="{FF2B5EF4-FFF2-40B4-BE49-F238E27FC236}">
                <a16:creationId xmlns:a16="http://schemas.microsoft.com/office/drawing/2014/main" id="{E36D931C-B74E-45D1-BA8B-A4AA499EF5D5}"/>
              </a:ext>
            </a:extLst>
          </p:cNvPr>
          <p:cNvSpPr/>
          <p:nvPr/>
        </p:nvSpPr>
        <p:spPr>
          <a:xfrm>
            <a:off x="2760608" y="1952237"/>
            <a:ext cx="3285732" cy="164850"/>
          </a:xfrm>
          <a:prstGeom prst="chevron">
            <a:avLst>
              <a:gd name="adj" fmla="val 39888"/>
            </a:avLst>
          </a:pr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pt-BR" sz="900" b="1" dirty="0">
                <a:solidFill>
                  <a:prstClr val="white"/>
                </a:solidFill>
                <a:latin typeface="Tw Cen MT Condensed" panose="020B0606020104020203" pitchFamily="34" charset="0"/>
              </a:rPr>
              <a:t>Grupo de Transformação Ágil</a:t>
            </a:r>
          </a:p>
        </p:txBody>
      </p:sp>
      <p:sp>
        <p:nvSpPr>
          <p:cNvPr id="56" name="Divisa 22">
            <a:extLst>
              <a:ext uri="{FF2B5EF4-FFF2-40B4-BE49-F238E27FC236}">
                <a16:creationId xmlns:a16="http://schemas.microsoft.com/office/drawing/2014/main" id="{060B434B-A6D8-4123-85B8-029C147FF8B7}"/>
              </a:ext>
            </a:extLst>
          </p:cNvPr>
          <p:cNvSpPr/>
          <p:nvPr/>
        </p:nvSpPr>
        <p:spPr>
          <a:xfrm>
            <a:off x="2649172" y="1952237"/>
            <a:ext cx="122629" cy="164850"/>
          </a:xfrm>
          <a:prstGeom prst="chevron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pt-BR" sz="900" dirty="0">
              <a:solidFill>
                <a:prstClr val="black"/>
              </a:solidFill>
              <a:latin typeface="Tw Cen MT Condensed" panose="020B0606020104020203" pitchFamily="34" charset="0"/>
            </a:endParaRPr>
          </a:p>
        </p:txBody>
      </p:sp>
      <p:sp>
        <p:nvSpPr>
          <p:cNvPr id="57" name="Divisa 23">
            <a:extLst>
              <a:ext uri="{FF2B5EF4-FFF2-40B4-BE49-F238E27FC236}">
                <a16:creationId xmlns:a16="http://schemas.microsoft.com/office/drawing/2014/main" id="{3092EE35-674E-45AD-A3AB-E718462D9C34}"/>
              </a:ext>
            </a:extLst>
          </p:cNvPr>
          <p:cNvSpPr/>
          <p:nvPr/>
        </p:nvSpPr>
        <p:spPr>
          <a:xfrm>
            <a:off x="2541603" y="1952237"/>
            <a:ext cx="122629" cy="164850"/>
          </a:xfrm>
          <a:prstGeom prst="chevron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pt-BR" sz="900" dirty="0">
              <a:solidFill>
                <a:prstClr val="black"/>
              </a:solidFill>
              <a:latin typeface="Tw Cen MT Condensed" panose="020B0606020104020203" pitchFamily="34" charset="0"/>
            </a:endParaRPr>
          </a:p>
        </p:txBody>
      </p:sp>
      <p:sp>
        <p:nvSpPr>
          <p:cNvPr id="58" name="Divisa 24">
            <a:extLst>
              <a:ext uri="{FF2B5EF4-FFF2-40B4-BE49-F238E27FC236}">
                <a16:creationId xmlns:a16="http://schemas.microsoft.com/office/drawing/2014/main" id="{B829266B-41C1-4E21-966D-99D21904DFBF}"/>
              </a:ext>
            </a:extLst>
          </p:cNvPr>
          <p:cNvSpPr/>
          <p:nvPr/>
        </p:nvSpPr>
        <p:spPr>
          <a:xfrm>
            <a:off x="2434034" y="1952237"/>
            <a:ext cx="122629" cy="164850"/>
          </a:xfrm>
          <a:prstGeom prst="chevron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pt-BR" sz="900" dirty="0">
              <a:solidFill>
                <a:prstClr val="black"/>
              </a:solidFill>
              <a:latin typeface="Tw Cen MT Condensed" panose="020B0606020104020203" pitchFamily="34" charset="0"/>
            </a:endParaRPr>
          </a:p>
        </p:txBody>
      </p:sp>
      <p:sp>
        <p:nvSpPr>
          <p:cNvPr id="59" name="Divisa 25">
            <a:extLst>
              <a:ext uri="{FF2B5EF4-FFF2-40B4-BE49-F238E27FC236}">
                <a16:creationId xmlns:a16="http://schemas.microsoft.com/office/drawing/2014/main" id="{EBD0FB51-A47B-4602-A2EB-78F1096C7689}"/>
              </a:ext>
            </a:extLst>
          </p:cNvPr>
          <p:cNvSpPr/>
          <p:nvPr/>
        </p:nvSpPr>
        <p:spPr>
          <a:xfrm>
            <a:off x="6254337" y="1952237"/>
            <a:ext cx="122629" cy="164850"/>
          </a:xfrm>
          <a:prstGeom prst="chevron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pt-BR" sz="900" dirty="0">
              <a:solidFill>
                <a:prstClr val="black"/>
              </a:solidFill>
              <a:latin typeface="Tw Cen MT Condensed" panose="020B0606020104020203" pitchFamily="34" charset="0"/>
            </a:endParaRPr>
          </a:p>
        </p:txBody>
      </p:sp>
      <p:sp>
        <p:nvSpPr>
          <p:cNvPr id="60" name="Divisa 27">
            <a:extLst>
              <a:ext uri="{FF2B5EF4-FFF2-40B4-BE49-F238E27FC236}">
                <a16:creationId xmlns:a16="http://schemas.microsoft.com/office/drawing/2014/main" id="{68438E18-281C-460A-9C10-CFBC7C93B3CF}"/>
              </a:ext>
            </a:extLst>
          </p:cNvPr>
          <p:cNvSpPr/>
          <p:nvPr/>
        </p:nvSpPr>
        <p:spPr>
          <a:xfrm>
            <a:off x="6146768" y="1952237"/>
            <a:ext cx="122629" cy="164850"/>
          </a:xfrm>
          <a:prstGeom prst="chevron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pt-BR" sz="900" dirty="0">
              <a:solidFill>
                <a:prstClr val="black"/>
              </a:solidFill>
              <a:latin typeface="Tw Cen MT Condensed" panose="020B0606020104020203" pitchFamily="34" charset="0"/>
            </a:endParaRPr>
          </a:p>
        </p:txBody>
      </p:sp>
      <p:sp>
        <p:nvSpPr>
          <p:cNvPr id="61" name="Divisa 28">
            <a:extLst>
              <a:ext uri="{FF2B5EF4-FFF2-40B4-BE49-F238E27FC236}">
                <a16:creationId xmlns:a16="http://schemas.microsoft.com/office/drawing/2014/main" id="{8669117C-2BAD-49A8-A453-A99EA98B92F1}"/>
              </a:ext>
            </a:extLst>
          </p:cNvPr>
          <p:cNvSpPr/>
          <p:nvPr/>
        </p:nvSpPr>
        <p:spPr>
          <a:xfrm>
            <a:off x="6039199" y="1952237"/>
            <a:ext cx="122629" cy="164850"/>
          </a:xfrm>
          <a:prstGeom prst="chevron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pt-BR" sz="900" dirty="0">
              <a:solidFill>
                <a:prstClr val="black"/>
              </a:solidFill>
              <a:latin typeface="Tw Cen MT Condensed" panose="020B0606020104020203" pitchFamily="34" charset="0"/>
            </a:endParaRPr>
          </a:p>
        </p:txBody>
      </p:sp>
      <p:pic>
        <p:nvPicPr>
          <p:cNvPr id="62" name="Imagem 61">
            <a:extLst>
              <a:ext uri="{FF2B5EF4-FFF2-40B4-BE49-F238E27FC236}">
                <a16:creationId xmlns:a16="http://schemas.microsoft.com/office/drawing/2014/main" id="{8D8C2138-301D-4F8D-8650-FA5819BE9165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36023" y="1940033"/>
            <a:ext cx="182963" cy="182963"/>
          </a:xfrm>
          <a:prstGeom prst="rect">
            <a:avLst/>
          </a:prstGeom>
        </p:spPr>
      </p:pic>
      <p:sp>
        <p:nvSpPr>
          <p:cNvPr id="63" name="Pentágono 69">
            <a:extLst>
              <a:ext uri="{FF2B5EF4-FFF2-40B4-BE49-F238E27FC236}">
                <a16:creationId xmlns:a16="http://schemas.microsoft.com/office/drawing/2014/main" id="{E34CCE69-ECF5-4E63-A05E-6BDD8FA4FAB7}"/>
              </a:ext>
            </a:extLst>
          </p:cNvPr>
          <p:cNvSpPr/>
          <p:nvPr/>
        </p:nvSpPr>
        <p:spPr>
          <a:xfrm>
            <a:off x="5854890" y="1425927"/>
            <a:ext cx="1636039" cy="435648"/>
          </a:xfrm>
          <a:prstGeom prst="homePlate">
            <a:avLst>
              <a:gd name="adj" fmla="val 23764"/>
            </a:avLst>
          </a:prstGeom>
          <a:solidFill>
            <a:schemeClr val="accent5">
              <a:lumMod val="75000"/>
            </a:schemeClr>
          </a:solidFill>
          <a:ln w="762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Ins="108000" rtlCol="0" anchor="ctr"/>
          <a:lstStyle/>
          <a:p>
            <a:pPr algn="ctr">
              <a:lnSpc>
                <a:spcPct val="70000"/>
              </a:lnSpc>
              <a:defRPr/>
            </a:pPr>
            <a:r>
              <a:rPr lang="pt-BR" sz="1100" dirty="0">
                <a:solidFill>
                  <a:prstClr val="white"/>
                </a:solidFill>
                <a:latin typeface="Tw Cen MT Condensed" panose="020B0606020104020203" pitchFamily="34" charset="0"/>
              </a:rPr>
              <a:t>Identificar e Instruir Agentes de Mudança</a:t>
            </a:r>
          </a:p>
        </p:txBody>
      </p:sp>
      <p:sp>
        <p:nvSpPr>
          <p:cNvPr id="64" name="Pentágono 15">
            <a:extLst>
              <a:ext uri="{FF2B5EF4-FFF2-40B4-BE49-F238E27FC236}">
                <a16:creationId xmlns:a16="http://schemas.microsoft.com/office/drawing/2014/main" id="{F255CC68-6E5E-4AB9-A3B7-D135AAA9F2EE}"/>
              </a:ext>
            </a:extLst>
          </p:cNvPr>
          <p:cNvSpPr/>
          <p:nvPr/>
        </p:nvSpPr>
        <p:spPr>
          <a:xfrm>
            <a:off x="4149956" y="1425927"/>
            <a:ext cx="1823451" cy="435648"/>
          </a:xfrm>
          <a:prstGeom prst="homePlate">
            <a:avLst>
              <a:gd name="adj" fmla="val 23764"/>
            </a:avLst>
          </a:prstGeom>
          <a:solidFill>
            <a:schemeClr val="accent5">
              <a:lumMod val="75000"/>
            </a:schemeClr>
          </a:solidFill>
          <a:ln w="762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Ins="108000" rtlCol="0" anchor="ctr"/>
          <a:lstStyle/>
          <a:p>
            <a:pPr algn="ctr">
              <a:lnSpc>
                <a:spcPct val="70000"/>
              </a:lnSpc>
              <a:defRPr/>
            </a:pPr>
            <a:r>
              <a:rPr lang="pt-BR" sz="1100" dirty="0">
                <a:solidFill>
                  <a:prstClr val="white"/>
                </a:solidFill>
                <a:latin typeface="Tw Cen MT Condensed" panose="020B0606020104020203" pitchFamily="34" charset="0"/>
              </a:rPr>
              <a:t>Instruir </a:t>
            </a:r>
            <a:r>
              <a:rPr lang="it-IT" sz="1100" dirty="0">
                <a:solidFill>
                  <a:prstClr val="white"/>
                </a:solidFill>
                <a:latin typeface="Tw Cen MT Condensed" panose="020B0606020104020203" pitchFamily="34" charset="0"/>
              </a:rPr>
              <a:t>PO, AM, RTE, ARQ Neg., ARQ TI, Product Leader e LPM</a:t>
            </a:r>
          </a:p>
        </p:txBody>
      </p:sp>
      <p:sp>
        <p:nvSpPr>
          <p:cNvPr id="66" name="Pentágono 18">
            <a:extLst>
              <a:ext uri="{FF2B5EF4-FFF2-40B4-BE49-F238E27FC236}">
                <a16:creationId xmlns:a16="http://schemas.microsoft.com/office/drawing/2014/main" id="{24D67F08-CE4F-47D8-B3EF-505D7E169C5F}"/>
              </a:ext>
            </a:extLst>
          </p:cNvPr>
          <p:cNvSpPr/>
          <p:nvPr/>
        </p:nvSpPr>
        <p:spPr>
          <a:xfrm>
            <a:off x="3417454" y="1425927"/>
            <a:ext cx="866673" cy="435648"/>
          </a:xfrm>
          <a:prstGeom prst="homePlate">
            <a:avLst>
              <a:gd name="adj" fmla="val 23764"/>
            </a:avLst>
          </a:prstGeom>
          <a:solidFill>
            <a:schemeClr val="accent5">
              <a:lumMod val="75000"/>
            </a:schemeClr>
          </a:solidFill>
          <a:ln w="762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16000" rIns="108000" rtlCol="0" anchor="ctr"/>
          <a:lstStyle/>
          <a:p>
            <a:pPr algn="ctr">
              <a:lnSpc>
                <a:spcPct val="70000"/>
              </a:lnSpc>
              <a:defRPr/>
            </a:pPr>
            <a:r>
              <a:rPr lang="pt-BR" sz="1100" dirty="0">
                <a:solidFill>
                  <a:prstClr val="white"/>
                </a:solidFill>
                <a:latin typeface="Tw Cen MT Condensed" panose="020B0606020104020203" pitchFamily="34" charset="0"/>
              </a:rPr>
              <a:t>Engajar   Liderança</a:t>
            </a:r>
          </a:p>
        </p:txBody>
      </p:sp>
      <p:sp>
        <p:nvSpPr>
          <p:cNvPr id="67" name="Semicírculos 99">
            <a:extLst>
              <a:ext uri="{FF2B5EF4-FFF2-40B4-BE49-F238E27FC236}">
                <a16:creationId xmlns:a16="http://schemas.microsoft.com/office/drawing/2014/main" id="{14926CD1-C7B4-4264-9E3C-2CA9083600CD}"/>
              </a:ext>
            </a:extLst>
          </p:cNvPr>
          <p:cNvSpPr/>
          <p:nvPr/>
        </p:nvSpPr>
        <p:spPr>
          <a:xfrm rot="5400000">
            <a:off x="6852259" y="2042223"/>
            <a:ext cx="918285" cy="739232"/>
          </a:xfrm>
          <a:prstGeom prst="blockArc">
            <a:avLst>
              <a:gd name="adj1" fmla="val 10822127"/>
              <a:gd name="adj2" fmla="val 21599954"/>
              <a:gd name="adj3" fmla="val 22008"/>
            </a:avLst>
          </a:prstGeom>
          <a:solidFill>
            <a:schemeClr val="accent5">
              <a:lumMod val="50000"/>
            </a:schemeClr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16000" tIns="45720" rIns="21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pt-BR" sz="1100" dirty="0">
              <a:solidFill>
                <a:prstClr val="white"/>
              </a:solidFill>
              <a:latin typeface="Tw Cen MT Condensed" panose="020B0606020104020203" pitchFamily="34" charset="0"/>
            </a:endParaRPr>
          </a:p>
        </p:txBody>
      </p:sp>
      <p:sp>
        <p:nvSpPr>
          <p:cNvPr id="68" name="Triângulo isósceles 67">
            <a:extLst>
              <a:ext uri="{FF2B5EF4-FFF2-40B4-BE49-F238E27FC236}">
                <a16:creationId xmlns:a16="http://schemas.microsoft.com/office/drawing/2014/main" id="{1C91F56C-08CE-4846-BB5A-38FF91A1F87C}"/>
              </a:ext>
            </a:extLst>
          </p:cNvPr>
          <p:cNvSpPr/>
          <p:nvPr/>
        </p:nvSpPr>
        <p:spPr>
          <a:xfrm rot="16200000">
            <a:off x="7201445" y="2759533"/>
            <a:ext cx="162189" cy="60707"/>
          </a:xfrm>
          <a:prstGeom prst="triangle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pt-BR" sz="180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69" name="Divisa 141">
            <a:extLst>
              <a:ext uri="{FF2B5EF4-FFF2-40B4-BE49-F238E27FC236}">
                <a16:creationId xmlns:a16="http://schemas.microsoft.com/office/drawing/2014/main" id="{6B885998-CBC0-4971-90E3-E02C5DF4726C}"/>
              </a:ext>
            </a:extLst>
          </p:cNvPr>
          <p:cNvSpPr/>
          <p:nvPr/>
        </p:nvSpPr>
        <p:spPr>
          <a:xfrm rot="10800000" flipV="1">
            <a:off x="4027010" y="2978694"/>
            <a:ext cx="1732168" cy="435600"/>
          </a:xfrm>
          <a:prstGeom prst="chevron">
            <a:avLst>
              <a:gd name="adj" fmla="val 23545"/>
            </a:avLst>
          </a:prstGeom>
          <a:solidFill>
            <a:schemeClr val="accent6">
              <a:lumMod val="75000"/>
            </a:schemeClr>
          </a:solidFill>
          <a:ln w="762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16000" rIns="216000" rtlCol="0" anchor="ctr"/>
          <a:lstStyle/>
          <a:p>
            <a:pPr algn="ctr">
              <a:lnSpc>
                <a:spcPct val="70000"/>
              </a:lnSpc>
              <a:defRPr/>
            </a:pPr>
            <a:r>
              <a:rPr lang="pt-BR" sz="1100" dirty="0">
                <a:solidFill>
                  <a:prstClr val="white"/>
                </a:solidFill>
                <a:latin typeface="Tw Cen MT Condensed" panose="020B0606020104020203" pitchFamily="34" charset="0"/>
              </a:rPr>
              <a:t>Transição dos temas prioritários</a:t>
            </a:r>
          </a:p>
        </p:txBody>
      </p:sp>
      <p:sp>
        <p:nvSpPr>
          <p:cNvPr id="70" name="Divisa 142">
            <a:extLst>
              <a:ext uri="{FF2B5EF4-FFF2-40B4-BE49-F238E27FC236}">
                <a16:creationId xmlns:a16="http://schemas.microsoft.com/office/drawing/2014/main" id="{797E2264-65DF-4091-83DC-7FF2E49EA791}"/>
              </a:ext>
            </a:extLst>
          </p:cNvPr>
          <p:cNvSpPr/>
          <p:nvPr/>
        </p:nvSpPr>
        <p:spPr>
          <a:xfrm rot="10800000" flipV="1">
            <a:off x="1575088" y="2978694"/>
            <a:ext cx="2644436" cy="435600"/>
          </a:xfrm>
          <a:prstGeom prst="chevron">
            <a:avLst>
              <a:gd name="adj" fmla="val 23545"/>
            </a:avLst>
          </a:prstGeom>
          <a:solidFill>
            <a:schemeClr val="accent6">
              <a:lumMod val="75000"/>
            </a:schemeClr>
          </a:solidFill>
          <a:ln w="762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88000" rIns="216000" rtlCol="0" anchor="ctr"/>
          <a:lstStyle/>
          <a:p>
            <a:pPr algn="ctr">
              <a:lnSpc>
                <a:spcPct val="70000"/>
              </a:lnSpc>
              <a:defRPr/>
            </a:pPr>
            <a:r>
              <a:rPr lang="pt-BR" sz="1100" dirty="0">
                <a:solidFill>
                  <a:prstClr val="white"/>
                </a:solidFill>
                <a:latin typeface="Tw Cen MT Condensed" panose="020B0606020104020203" pitchFamily="34" charset="0"/>
              </a:rPr>
              <a:t>Preparar Times para cadeias de valor</a:t>
            </a:r>
          </a:p>
        </p:txBody>
      </p:sp>
      <p:sp>
        <p:nvSpPr>
          <p:cNvPr id="72" name="Retângulo de cantos arredondados 146">
            <a:extLst>
              <a:ext uri="{FF2B5EF4-FFF2-40B4-BE49-F238E27FC236}">
                <a16:creationId xmlns:a16="http://schemas.microsoft.com/office/drawing/2014/main" id="{B6831CAA-8893-4570-B244-BA21541E45B6}"/>
              </a:ext>
            </a:extLst>
          </p:cNvPr>
          <p:cNvSpPr/>
          <p:nvPr/>
        </p:nvSpPr>
        <p:spPr>
          <a:xfrm>
            <a:off x="2760608" y="2180360"/>
            <a:ext cx="1986165" cy="457200"/>
          </a:xfrm>
          <a:prstGeom prst="roundRect">
            <a:avLst>
              <a:gd name="adj" fmla="val 45363"/>
            </a:avLst>
          </a:prstGeom>
          <a:solidFill>
            <a:schemeClr val="bg1">
              <a:lumMod val="7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lIns="324000" tIns="36000" rIns="72000" bIns="36000" rtlCol="0" anchor="ctr"/>
          <a:lstStyle/>
          <a:p>
            <a:pPr algn="ctr">
              <a:defRPr/>
            </a:pPr>
            <a:r>
              <a:rPr lang="pt-BR" sz="1000" dirty="0">
                <a:solidFill>
                  <a:prstClr val="white"/>
                </a:solidFill>
                <a:latin typeface="Tw Cen MT Condensed" panose="020B0606020104020203" pitchFamily="34" charset="0"/>
              </a:rPr>
              <a:t>LPM</a:t>
            </a:r>
          </a:p>
        </p:txBody>
      </p:sp>
      <p:sp>
        <p:nvSpPr>
          <p:cNvPr id="73" name="Retângulo de cantos arredondados 4">
            <a:extLst>
              <a:ext uri="{FF2B5EF4-FFF2-40B4-BE49-F238E27FC236}">
                <a16:creationId xmlns:a16="http://schemas.microsoft.com/office/drawing/2014/main" id="{BACEA14E-2338-43A8-A4C2-3DAB3E628E02}"/>
              </a:ext>
            </a:extLst>
          </p:cNvPr>
          <p:cNvSpPr/>
          <p:nvPr/>
        </p:nvSpPr>
        <p:spPr>
          <a:xfrm>
            <a:off x="1349874" y="2180360"/>
            <a:ext cx="1998727" cy="457200"/>
          </a:xfrm>
          <a:prstGeom prst="roundRect">
            <a:avLst>
              <a:gd name="adj" fmla="val 45363"/>
            </a:avLst>
          </a:prstGeom>
          <a:solidFill>
            <a:schemeClr val="bg1">
              <a:lumMod val="7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defRPr/>
            </a:pPr>
            <a:r>
              <a:rPr lang="pt-BR" sz="1000" dirty="0">
                <a:solidFill>
                  <a:prstClr val="white"/>
                </a:solidFill>
                <a:latin typeface="Tw Cen MT Condensed" panose="020B0606020104020203" pitchFamily="34" charset="0"/>
              </a:rPr>
              <a:t>Pessoas</a:t>
            </a:r>
          </a:p>
        </p:txBody>
      </p:sp>
      <p:sp>
        <p:nvSpPr>
          <p:cNvPr id="74" name="Retângulo de cantos arredondados 3">
            <a:extLst>
              <a:ext uri="{FF2B5EF4-FFF2-40B4-BE49-F238E27FC236}">
                <a16:creationId xmlns:a16="http://schemas.microsoft.com/office/drawing/2014/main" id="{20320D1C-3C23-4108-B877-754CE6A0C8D1}"/>
              </a:ext>
            </a:extLst>
          </p:cNvPr>
          <p:cNvSpPr/>
          <p:nvPr/>
        </p:nvSpPr>
        <p:spPr>
          <a:xfrm>
            <a:off x="1326794" y="2160954"/>
            <a:ext cx="6131374" cy="496015"/>
          </a:xfrm>
          <a:prstGeom prst="roundRect">
            <a:avLst>
              <a:gd name="adj" fmla="val 43838"/>
            </a:avLst>
          </a:prstGeom>
          <a:noFill/>
          <a:ln>
            <a:solidFill>
              <a:srgbClr val="BFBFB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pt-BR" sz="180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75" name="Retângulo 74">
            <a:extLst>
              <a:ext uri="{FF2B5EF4-FFF2-40B4-BE49-F238E27FC236}">
                <a16:creationId xmlns:a16="http://schemas.microsoft.com/office/drawing/2014/main" id="{7623791B-59B0-46CC-82A0-18102AA73419}"/>
              </a:ext>
            </a:extLst>
          </p:cNvPr>
          <p:cNvSpPr/>
          <p:nvPr/>
        </p:nvSpPr>
        <p:spPr>
          <a:xfrm>
            <a:off x="1798738" y="3019236"/>
            <a:ext cx="126824" cy="355365"/>
          </a:xfrm>
          <a:prstGeom prst="rect">
            <a:avLst/>
          </a:prstGeom>
          <a:solidFill>
            <a:schemeClr val="accent6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>
              <a:defRPr/>
            </a:pPr>
            <a:r>
              <a:rPr lang="pt-BR" sz="600" dirty="0">
                <a:solidFill>
                  <a:prstClr val="white"/>
                </a:solidFill>
                <a:latin typeface="Tw Cen MT Condensed" panose="020B0606020104020203" pitchFamily="34" charset="0"/>
              </a:rPr>
              <a:t>PI Planning</a:t>
            </a:r>
          </a:p>
        </p:txBody>
      </p:sp>
      <p:sp>
        <p:nvSpPr>
          <p:cNvPr id="78" name="Pentágono 18">
            <a:extLst>
              <a:ext uri="{FF2B5EF4-FFF2-40B4-BE49-F238E27FC236}">
                <a16:creationId xmlns:a16="http://schemas.microsoft.com/office/drawing/2014/main" id="{ED99E196-0001-4AB1-8035-FB26760B1363}"/>
              </a:ext>
            </a:extLst>
          </p:cNvPr>
          <p:cNvSpPr/>
          <p:nvPr/>
        </p:nvSpPr>
        <p:spPr>
          <a:xfrm>
            <a:off x="838127" y="1425927"/>
            <a:ext cx="939353" cy="435648"/>
          </a:xfrm>
          <a:prstGeom prst="homePlate">
            <a:avLst>
              <a:gd name="adj" fmla="val 23764"/>
            </a:avLst>
          </a:prstGeom>
          <a:solidFill>
            <a:srgbClr val="FF0000"/>
          </a:solidFill>
          <a:ln w="762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16000" rIns="72000" rtlCol="0" anchor="ctr"/>
          <a:lstStyle/>
          <a:p>
            <a:pPr algn="ctr">
              <a:lnSpc>
                <a:spcPct val="70000"/>
              </a:lnSpc>
              <a:defRPr/>
            </a:pPr>
            <a:r>
              <a:rPr lang="pt-BR" sz="1100" dirty="0">
                <a:solidFill>
                  <a:prstClr val="white"/>
                </a:solidFill>
                <a:latin typeface="Tw Cen MT Condensed" panose="020B0606020104020203" pitchFamily="34" charset="0"/>
              </a:rPr>
              <a:t>Explorar</a:t>
            </a:r>
          </a:p>
        </p:txBody>
      </p:sp>
      <p:sp>
        <p:nvSpPr>
          <p:cNvPr id="79" name="Elipse 78">
            <a:extLst>
              <a:ext uri="{FF2B5EF4-FFF2-40B4-BE49-F238E27FC236}">
                <a16:creationId xmlns:a16="http://schemas.microsoft.com/office/drawing/2014/main" id="{7DEB24AE-BABC-4899-B2E4-5768D261745D}"/>
              </a:ext>
            </a:extLst>
          </p:cNvPr>
          <p:cNvSpPr/>
          <p:nvPr/>
        </p:nvSpPr>
        <p:spPr>
          <a:xfrm>
            <a:off x="526853" y="1387102"/>
            <a:ext cx="505504" cy="505504"/>
          </a:xfrm>
          <a:prstGeom prst="ellipse">
            <a:avLst/>
          </a:prstGeom>
          <a:solidFill>
            <a:srgbClr val="FF0000"/>
          </a:solidFill>
          <a:ln w="762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defRPr/>
            </a:pPr>
            <a:r>
              <a:rPr lang="pt-BR" sz="1200" dirty="0">
                <a:solidFill>
                  <a:prstClr val="white"/>
                </a:solidFill>
                <a:latin typeface="Calibri" panose="020F0502020204030204"/>
              </a:rPr>
              <a:t>IR</a:t>
            </a:r>
          </a:p>
        </p:txBody>
      </p:sp>
      <p:sp>
        <p:nvSpPr>
          <p:cNvPr id="2" name="Espaço Reservado para Texto 1">
            <a:extLst>
              <a:ext uri="{FF2B5EF4-FFF2-40B4-BE49-F238E27FC236}">
                <a16:creationId xmlns:a16="http://schemas.microsoft.com/office/drawing/2014/main" id="{285300FC-26B2-46E0-BBDF-46137140390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pt-BR" dirty="0"/>
              <a:t>Plano Mudança</a:t>
            </a:r>
          </a:p>
        </p:txBody>
      </p:sp>
      <p:sp>
        <p:nvSpPr>
          <p:cNvPr id="65" name="Pentágono 18">
            <a:extLst>
              <a:ext uri="{FF2B5EF4-FFF2-40B4-BE49-F238E27FC236}">
                <a16:creationId xmlns:a16="http://schemas.microsoft.com/office/drawing/2014/main" id="{9BADBCD3-4F56-4E5F-AA88-C098F1A15C2B}"/>
              </a:ext>
            </a:extLst>
          </p:cNvPr>
          <p:cNvSpPr/>
          <p:nvPr/>
        </p:nvSpPr>
        <p:spPr>
          <a:xfrm>
            <a:off x="2307285" y="1437619"/>
            <a:ext cx="1321293" cy="435648"/>
          </a:xfrm>
          <a:prstGeom prst="homePlate">
            <a:avLst>
              <a:gd name="adj" fmla="val 23764"/>
            </a:avLst>
          </a:prstGeom>
          <a:solidFill>
            <a:schemeClr val="accent5">
              <a:lumMod val="75000"/>
            </a:schemeClr>
          </a:solidFill>
          <a:ln w="762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16000" rIns="108000" rtlCol="0" anchor="ctr"/>
          <a:lstStyle/>
          <a:p>
            <a:pPr algn="ctr">
              <a:lnSpc>
                <a:spcPct val="70000"/>
              </a:lnSpc>
              <a:defRPr/>
            </a:pPr>
            <a:r>
              <a:rPr lang="pt-BR" sz="1100" dirty="0">
                <a:solidFill>
                  <a:prstClr val="white"/>
                </a:solidFill>
                <a:latin typeface="Tw Cen MT Condensed" panose="020B0606020104020203" pitchFamily="34" charset="0"/>
              </a:rPr>
              <a:t>Realizar Comunicado do </a:t>
            </a:r>
            <a:r>
              <a:rPr lang="pt-BR" sz="1100" dirty="0" err="1">
                <a:solidFill>
                  <a:prstClr val="white"/>
                </a:solidFill>
                <a:latin typeface="Tw Cen MT Condensed" panose="020B0606020104020203" pitchFamily="34" charset="0"/>
              </a:rPr>
              <a:t>Sponsor</a:t>
            </a:r>
            <a:endParaRPr lang="pt-BR" sz="1100" dirty="0">
              <a:solidFill>
                <a:prstClr val="white"/>
              </a:solidFill>
              <a:latin typeface="Tw Cen MT Condensed" panose="020B0606020104020203" pitchFamily="34" charset="0"/>
            </a:endParaRPr>
          </a:p>
        </p:txBody>
      </p:sp>
      <p:sp>
        <p:nvSpPr>
          <p:cNvPr id="77" name="Pentágono 18">
            <a:extLst>
              <a:ext uri="{FF2B5EF4-FFF2-40B4-BE49-F238E27FC236}">
                <a16:creationId xmlns:a16="http://schemas.microsoft.com/office/drawing/2014/main" id="{B17D05EB-4BC6-4212-AF45-632B02409BFA}"/>
              </a:ext>
            </a:extLst>
          </p:cNvPr>
          <p:cNvSpPr/>
          <p:nvPr/>
        </p:nvSpPr>
        <p:spPr>
          <a:xfrm>
            <a:off x="1653073" y="1425927"/>
            <a:ext cx="830696" cy="435648"/>
          </a:xfrm>
          <a:prstGeom prst="homePlate">
            <a:avLst>
              <a:gd name="adj" fmla="val 23764"/>
            </a:avLst>
          </a:prstGeom>
          <a:solidFill>
            <a:srgbClr val="FF0000"/>
          </a:solidFill>
          <a:ln w="762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16000" rIns="108000" rtlCol="0" anchor="ctr"/>
          <a:lstStyle/>
          <a:p>
            <a:pPr algn="ctr">
              <a:lnSpc>
                <a:spcPct val="70000"/>
              </a:lnSpc>
              <a:defRPr/>
            </a:pPr>
            <a:r>
              <a:rPr lang="pt-BR" sz="1100" dirty="0">
                <a:solidFill>
                  <a:prstClr val="white"/>
                </a:solidFill>
                <a:latin typeface="Tw Cen MT Condensed" panose="020B0606020104020203" pitchFamily="34" charset="0"/>
              </a:rPr>
              <a:t>Definir Estratégia</a:t>
            </a:r>
          </a:p>
        </p:txBody>
      </p:sp>
      <p:sp>
        <p:nvSpPr>
          <p:cNvPr id="98" name="Semicírculos 99">
            <a:extLst>
              <a:ext uri="{FF2B5EF4-FFF2-40B4-BE49-F238E27FC236}">
                <a16:creationId xmlns:a16="http://schemas.microsoft.com/office/drawing/2014/main" id="{D9653E64-C0CC-44FD-9EAA-66A00C15C376}"/>
              </a:ext>
            </a:extLst>
          </p:cNvPr>
          <p:cNvSpPr/>
          <p:nvPr/>
        </p:nvSpPr>
        <p:spPr>
          <a:xfrm rot="5400000">
            <a:off x="6852259" y="2042224"/>
            <a:ext cx="918285" cy="739232"/>
          </a:xfrm>
          <a:prstGeom prst="blockArc">
            <a:avLst>
              <a:gd name="adj1" fmla="val 10822127"/>
              <a:gd name="adj2" fmla="val 21599954"/>
              <a:gd name="adj3" fmla="val 22008"/>
            </a:avLst>
          </a:prstGeom>
          <a:solidFill>
            <a:schemeClr val="accent5">
              <a:lumMod val="50000"/>
            </a:schemeClr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16000" tIns="45720" rIns="21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pt-BR" sz="1100" dirty="0">
              <a:solidFill>
                <a:prstClr val="white"/>
              </a:solidFill>
              <a:latin typeface="Tw Cen MT Condensed" panose="020B0606020104020203" pitchFamily="34" charset="0"/>
            </a:endParaRPr>
          </a:p>
        </p:txBody>
      </p:sp>
      <p:sp>
        <p:nvSpPr>
          <p:cNvPr id="100" name="Semicírculos 99">
            <a:extLst>
              <a:ext uri="{FF2B5EF4-FFF2-40B4-BE49-F238E27FC236}">
                <a16:creationId xmlns:a16="http://schemas.microsoft.com/office/drawing/2014/main" id="{815A8FE8-242F-4CB2-B464-BC88C3DF8A95}"/>
              </a:ext>
            </a:extLst>
          </p:cNvPr>
          <p:cNvSpPr/>
          <p:nvPr/>
        </p:nvSpPr>
        <p:spPr>
          <a:xfrm rot="5400000">
            <a:off x="6852259" y="2042224"/>
            <a:ext cx="918285" cy="739232"/>
          </a:xfrm>
          <a:prstGeom prst="blockArc">
            <a:avLst>
              <a:gd name="adj1" fmla="val 10822127"/>
              <a:gd name="adj2" fmla="val 21599954"/>
              <a:gd name="adj3" fmla="val 22008"/>
            </a:avLst>
          </a:prstGeom>
          <a:solidFill>
            <a:schemeClr val="accent5">
              <a:lumMod val="50000"/>
            </a:schemeClr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16000" tIns="45720" rIns="21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pt-BR" sz="1100" dirty="0">
              <a:solidFill>
                <a:prstClr val="white"/>
              </a:solidFill>
              <a:latin typeface="Tw Cen MT Condensed" panose="020B0606020104020203" pitchFamily="34" charset="0"/>
            </a:endParaRPr>
          </a:p>
        </p:txBody>
      </p:sp>
      <p:sp>
        <p:nvSpPr>
          <p:cNvPr id="103" name="Divisa 105">
            <a:extLst>
              <a:ext uri="{FF2B5EF4-FFF2-40B4-BE49-F238E27FC236}">
                <a16:creationId xmlns:a16="http://schemas.microsoft.com/office/drawing/2014/main" id="{96A6ABEA-CAE4-4AA4-AD09-DD7C3A6E170E}"/>
              </a:ext>
            </a:extLst>
          </p:cNvPr>
          <p:cNvSpPr/>
          <p:nvPr/>
        </p:nvSpPr>
        <p:spPr>
          <a:xfrm>
            <a:off x="1728787" y="4268417"/>
            <a:ext cx="3510000" cy="165017"/>
          </a:xfrm>
          <a:prstGeom prst="chevron">
            <a:avLst>
              <a:gd name="adj" fmla="val 39888"/>
            </a:avLst>
          </a:prstGeom>
          <a:solidFill>
            <a:schemeClr val="accent5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>
              <a:defRPr/>
            </a:pPr>
            <a:r>
              <a:rPr lang="pt-BR" sz="900" b="1" dirty="0">
                <a:solidFill>
                  <a:prstClr val="white"/>
                </a:solidFill>
                <a:latin typeface="Tw Cen MT Condensed" panose="020B0606020104020203" pitchFamily="34" charset="0"/>
              </a:rPr>
              <a:t> </a:t>
            </a:r>
            <a:r>
              <a:rPr lang="pt-BR" sz="900" b="1" dirty="0" err="1">
                <a:solidFill>
                  <a:prstClr val="white"/>
                </a:solidFill>
                <a:latin typeface="Tw Cen MT Condensed" panose="020B0606020104020203" pitchFamily="34" charset="0"/>
              </a:rPr>
              <a:t>Agile</a:t>
            </a:r>
            <a:r>
              <a:rPr lang="pt-BR" sz="900" b="1" dirty="0">
                <a:solidFill>
                  <a:prstClr val="white"/>
                </a:solidFill>
                <a:latin typeface="Tw Cen MT Condensed" panose="020B0606020104020203" pitchFamily="34" charset="0"/>
              </a:rPr>
              <a:t> Coaching</a:t>
            </a:r>
          </a:p>
        </p:txBody>
      </p:sp>
      <p:sp>
        <p:nvSpPr>
          <p:cNvPr id="104" name="Semicírculos 99">
            <a:extLst>
              <a:ext uri="{FF2B5EF4-FFF2-40B4-BE49-F238E27FC236}">
                <a16:creationId xmlns:a16="http://schemas.microsoft.com/office/drawing/2014/main" id="{0346F0EB-801D-4A76-B1F3-632D166DCE8F}"/>
              </a:ext>
            </a:extLst>
          </p:cNvPr>
          <p:cNvSpPr/>
          <p:nvPr/>
        </p:nvSpPr>
        <p:spPr>
          <a:xfrm rot="16200000">
            <a:off x="1280489" y="3604422"/>
            <a:ext cx="918285" cy="739232"/>
          </a:xfrm>
          <a:prstGeom prst="blockArc">
            <a:avLst>
              <a:gd name="adj1" fmla="val 10822127"/>
              <a:gd name="adj2" fmla="val 21599954"/>
              <a:gd name="adj3" fmla="val 22008"/>
            </a:avLst>
          </a:prstGeom>
          <a:solidFill>
            <a:schemeClr val="accent5">
              <a:lumMod val="50000"/>
            </a:schemeClr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16000" tIns="45720" rIns="21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pt-BR" sz="1100" dirty="0">
              <a:solidFill>
                <a:prstClr val="white"/>
              </a:solidFill>
              <a:latin typeface="Tw Cen MT Condensed" panose="020B0606020104020203" pitchFamily="34" charset="0"/>
            </a:endParaRPr>
          </a:p>
        </p:txBody>
      </p:sp>
      <p:sp>
        <p:nvSpPr>
          <p:cNvPr id="105" name="Divisa 25">
            <a:extLst>
              <a:ext uri="{FF2B5EF4-FFF2-40B4-BE49-F238E27FC236}">
                <a16:creationId xmlns:a16="http://schemas.microsoft.com/office/drawing/2014/main" id="{4E453B9C-D378-46B9-841B-5D32B3F431BC}"/>
              </a:ext>
            </a:extLst>
          </p:cNvPr>
          <p:cNvSpPr/>
          <p:nvPr/>
        </p:nvSpPr>
        <p:spPr>
          <a:xfrm>
            <a:off x="5437173" y="4268417"/>
            <a:ext cx="122629" cy="164850"/>
          </a:xfrm>
          <a:prstGeom prst="chevron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pt-BR" sz="900" dirty="0">
              <a:solidFill>
                <a:prstClr val="black"/>
              </a:solidFill>
              <a:latin typeface="Tw Cen MT Condensed" panose="020B0606020104020203" pitchFamily="34" charset="0"/>
            </a:endParaRPr>
          </a:p>
        </p:txBody>
      </p:sp>
      <p:sp>
        <p:nvSpPr>
          <p:cNvPr id="106" name="Divisa 27">
            <a:extLst>
              <a:ext uri="{FF2B5EF4-FFF2-40B4-BE49-F238E27FC236}">
                <a16:creationId xmlns:a16="http://schemas.microsoft.com/office/drawing/2014/main" id="{03BC7C8E-D2E2-4056-AA90-082B5C4ADB34}"/>
              </a:ext>
            </a:extLst>
          </p:cNvPr>
          <p:cNvSpPr/>
          <p:nvPr/>
        </p:nvSpPr>
        <p:spPr>
          <a:xfrm>
            <a:off x="5329604" y="4268417"/>
            <a:ext cx="122629" cy="164850"/>
          </a:xfrm>
          <a:prstGeom prst="chevron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pt-BR" sz="900" dirty="0">
              <a:solidFill>
                <a:prstClr val="black"/>
              </a:solidFill>
              <a:latin typeface="Tw Cen MT Condensed" panose="020B0606020104020203" pitchFamily="34" charset="0"/>
            </a:endParaRPr>
          </a:p>
        </p:txBody>
      </p:sp>
      <p:sp>
        <p:nvSpPr>
          <p:cNvPr id="107" name="Divisa 28">
            <a:extLst>
              <a:ext uri="{FF2B5EF4-FFF2-40B4-BE49-F238E27FC236}">
                <a16:creationId xmlns:a16="http://schemas.microsoft.com/office/drawing/2014/main" id="{87DE31C3-B4AA-45E3-8EBE-99E2CDFA55A5}"/>
              </a:ext>
            </a:extLst>
          </p:cNvPr>
          <p:cNvSpPr/>
          <p:nvPr/>
        </p:nvSpPr>
        <p:spPr>
          <a:xfrm>
            <a:off x="5222035" y="4268417"/>
            <a:ext cx="122629" cy="164850"/>
          </a:xfrm>
          <a:prstGeom prst="chevron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pt-BR" sz="900" dirty="0">
              <a:solidFill>
                <a:prstClr val="black"/>
              </a:solidFill>
              <a:latin typeface="Tw Cen MT Condensed" panose="020B0606020104020203" pitchFamily="34" charset="0"/>
            </a:endParaRPr>
          </a:p>
        </p:txBody>
      </p:sp>
      <p:sp>
        <p:nvSpPr>
          <p:cNvPr id="4" name="Retângulo 3">
            <a:extLst>
              <a:ext uri="{FF2B5EF4-FFF2-40B4-BE49-F238E27FC236}">
                <a16:creationId xmlns:a16="http://schemas.microsoft.com/office/drawing/2014/main" id="{0D4945F9-D806-4503-95DB-13291367EB77}"/>
              </a:ext>
            </a:extLst>
          </p:cNvPr>
          <p:cNvSpPr/>
          <p:nvPr/>
        </p:nvSpPr>
        <p:spPr>
          <a:xfrm>
            <a:off x="1711322" y="4272195"/>
            <a:ext cx="293764" cy="162000"/>
          </a:xfrm>
          <a:prstGeom prst="rect">
            <a:avLst/>
          </a:prstGeom>
          <a:solidFill>
            <a:srgbClr val="52575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pt-BR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08" name="Divisa 110">
            <a:extLst>
              <a:ext uri="{FF2B5EF4-FFF2-40B4-BE49-F238E27FC236}">
                <a16:creationId xmlns:a16="http://schemas.microsoft.com/office/drawing/2014/main" id="{F43264E3-EE95-4C04-A4BB-2EFEEAC59160}"/>
              </a:ext>
            </a:extLst>
          </p:cNvPr>
          <p:cNvSpPr/>
          <p:nvPr/>
        </p:nvSpPr>
        <p:spPr>
          <a:xfrm flipH="1">
            <a:off x="7035070" y="2705318"/>
            <a:ext cx="122629" cy="164850"/>
          </a:xfrm>
          <a:prstGeom prst="chevron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pt-BR" sz="900" dirty="0">
              <a:solidFill>
                <a:prstClr val="black"/>
              </a:solidFill>
              <a:latin typeface="Tw Cen MT Condensed" panose="020B0606020104020203" pitchFamily="34" charset="0"/>
            </a:endParaRPr>
          </a:p>
        </p:txBody>
      </p:sp>
      <p:sp>
        <p:nvSpPr>
          <p:cNvPr id="109" name="Divisa 111">
            <a:extLst>
              <a:ext uri="{FF2B5EF4-FFF2-40B4-BE49-F238E27FC236}">
                <a16:creationId xmlns:a16="http://schemas.microsoft.com/office/drawing/2014/main" id="{456BAB44-CC21-4DF8-ADD9-554E07DE18FC}"/>
              </a:ext>
            </a:extLst>
          </p:cNvPr>
          <p:cNvSpPr/>
          <p:nvPr/>
        </p:nvSpPr>
        <p:spPr>
          <a:xfrm flipH="1">
            <a:off x="6927501" y="2705318"/>
            <a:ext cx="122629" cy="164850"/>
          </a:xfrm>
          <a:prstGeom prst="chevron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pt-BR" sz="900" dirty="0">
              <a:solidFill>
                <a:prstClr val="black"/>
              </a:solidFill>
              <a:latin typeface="Tw Cen MT Condensed" panose="020B0606020104020203" pitchFamily="34" charset="0"/>
            </a:endParaRPr>
          </a:p>
        </p:txBody>
      </p:sp>
      <p:sp>
        <p:nvSpPr>
          <p:cNvPr id="110" name="Triângulo isósceles 109">
            <a:extLst>
              <a:ext uri="{FF2B5EF4-FFF2-40B4-BE49-F238E27FC236}">
                <a16:creationId xmlns:a16="http://schemas.microsoft.com/office/drawing/2014/main" id="{C546A124-D0D6-49BB-8B94-639D033FD859}"/>
              </a:ext>
            </a:extLst>
          </p:cNvPr>
          <p:cNvSpPr/>
          <p:nvPr/>
        </p:nvSpPr>
        <p:spPr>
          <a:xfrm rot="16200000">
            <a:off x="7201445" y="2759533"/>
            <a:ext cx="162189" cy="60707"/>
          </a:xfrm>
          <a:prstGeom prst="triangle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pt-BR" sz="180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11" name="Divisa 110">
            <a:extLst>
              <a:ext uri="{FF2B5EF4-FFF2-40B4-BE49-F238E27FC236}">
                <a16:creationId xmlns:a16="http://schemas.microsoft.com/office/drawing/2014/main" id="{D7E4A99C-7A5D-43E8-A824-84E4FB5F879A}"/>
              </a:ext>
            </a:extLst>
          </p:cNvPr>
          <p:cNvSpPr/>
          <p:nvPr/>
        </p:nvSpPr>
        <p:spPr>
          <a:xfrm flipH="1">
            <a:off x="7090292" y="3518485"/>
            <a:ext cx="122629" cy="164850"/>
          </a:xfrm>
          <a:prstGeom prst="chevron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pt-BR" sz="900" dirty="0">
              <a:solidFill>
                <a:prstClr val="black"/>
              </a:solidFill>
              <a:latin typeface="Tw Cen MT Condensed" panose="020B0606020104020203" pitchFamily="34" charset="0"/>
            </a:endParaRPr>
          </a:p>
        </p:txBody>
      </p:sp>
      <p:sp>
        <p:nvSpPr>
          <p:cNvPr id="112" name="Divisa 111">
            <a:extLst>
              <a:ext uri="{FF2B5EF4-FFF2-40B4-BE49-F238E27FC236}">
                <a16:creationId xmlns:a16="http://schemas.microsoft.com/office/drawing/2014/main" id="{AEC0DC6A-8C09-43E0-9C60-3E6BC49FC36D}"/>
              </a:ext>
            </a:extLst>
          </p:cNvPr>
          <p:cNvSpPr/>
          <p:nvPr/>
        </p:nvSpPr>
        <p:spPr>
          <a:xfrm flipH="1">
            <a:off x="6982722" y="3518485"/>
            <a:ext cx="122629" cy="164850"/>
          </a:xfrm>
          <a:prstGeom prst="chevron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pt-BR" sz="900" dirty="0">
              <a:solidFill>
                <a:prstClr val="black"/>
              </a:solidFill>
              <a:latin typeface="Tw Cen MT Condensed" panose="020B0606020104020203" pitchFamily="34" charset="0"/>
            </a:endParaRPr>
          </a:p>
        </p:txBody>
      </p:sp>
      <p:sp>
        <p:nvSpPr>
          <p:cNvPr id="114" name="Divisa 110">
            <a:extLst>
              <a:ext uri="{FF2B5EF4-FFF2-40B4-BE49-F238E27FC236}">
                <a16:creationId xmlns:a16="http://schemas.microsoft.com/office/drawing/2014/main" id="{E77D334C-42AC-481C-BD7E-A412F5E04E27}"/>
              </a:ext>
            </a:extLst>
          </p:cNvPr>
          <p:cNvSpPr/>
          <p:nvPr/>
        </p:nvSpPr>
        <p:spPr>
          <a:xfrm flipH="1">
            <a:off x="7198060" y="3521748"/>
            <a:ext cx="122629" cy="164850"/>
          </a:xfrm>
          <a:prstGeom prst="chevron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pt-BR" sz="900" dirty="0">
              <a:solidFill>
                <a:prstClr val="black"/>
              </a:solidFill>
              <a:latin typeface="Tw Cen MT Condensed" panose="020B0606020104020203" pitchFamily="34" charset="0"/>
            </a:endParaRPr>
          </a:p>
        </p:txBody>
      </p:sp>
      <p:sp>
        <p:nvSpPr>
          <p:cNvPr id="115" name="Retângulo 114">
            <a:extLst>
              <a:ext uri="{FF2B5EF4-FFF2-40B4-BE49-F238E27FC236}">
                <a16:creationId xmlns:a16="http://schemas.microsoft.com/office/drawing/2014/main" id="{5BA3C2FF-287A-4F2D-8288-3FB925C6CCDA}"/>
              </a:ext>
            </a:extLst>
          </p:cNvPr>
          <p:cNvSpPr/>
          <p:nvPr/>
        </p:nvSpPr>
        <p:spPr>
          <a:xfrm>
            <a:off x="1728786" y="3515087"/>
            <a:ext cx="5238000" cy="162000"/>
          </a:xfrm>
          <a:prstGeom prst="rect">
            <a:avLst/>
          </a:prstGeom>
          <a:solidFill>
            <a:srgbClr val="52575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pt-BR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13" name="Triângulo isósceles 112">
            <a:extLst>
              <a:ext uri="{FF2B5EF4-FFF2-40B4-BE49-F238E27FC236}">
                <a16:creationId xmlns:a16="http://schemas.microsoft.com/office/drawing/2014/main" id="{4A2909CC-1BE0-4653-B138-1DEEA4B9B57E}"/>
              </a:ext>
            </a:extLst>
          </p:cNvPr>
          <p:cNvSpPr/>
          <p:nvPr/>
        </p:nvSpPr>
        <p:spPr>
          <a:xfrm rot="16200000">
            <a:off x="6870443" y="3572701"/>
            <a:ext cx="162189" cy="60707"/>
          </a:xfrm>
          <a:prstGeom prst="triangle">
            <a:avLst/>
          </a:prstGeom>
          <a:solidFill>
            <a:srgbClr val="F9FDF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pt-BR" sz="1800">
              <a:solidFill>
                <a:prstClr val="white"/>
              </a:solidFill>
              <a:latin typeface="Calibri" panose="020F0502020204030204"/>
            </a:endParaRPr>
          </a:p>
        </p:txBody>
      </p:sp>
      <p:cxnSp>
        <p:nvCxnSpPr>
          <p:cNvPr id="71" name="Conector reto 70">
            <a:extLst>
              <a:ext uri="{FF2B5EF4-FFF2-40B4-BE49-F238E27FC236}">
                <a16:creationId xmlns:a16="http://schemas.microsoft.com/office/drawing/2014/main" id="{C837203E-3DA3-49D1-BD86-8490C7166E51}"/>
              </a:ext>
            </a:extLst>
          </p:cNvPr>
          <p:cNvCxnSpPr>
            <a:cxnSpLocks/>
          </p:cNvCxnSpPr>
          <p:nvPr/>
        </p:nvCxnSpPr>
        <p:spPr>
          <a:xfrm>
            <a:off x="4331633" y="299697"/>
            <a:ext cx="0" cy="1502688"/>
          </a:xfrm>
          <a:prstGeom prst="line">
            <a:avLst/>
          </a:prstGeom>
          <a:ln>
            <a:solidFill>
              <a:srgbClr val="EC000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76" name="Retângulo 75">
            <a:extLst>
              <a:ext uri="{FF2B5EF4-FFF2-40B4-BE49-F238E27FC236}">
                <a16:creationId xmlns:a16="http://schemas.microsoft.com/office/drawing/2014/main" id="{49545A2F-A025-4B96-8861-0D97D54AA360}"/>
              </a:ext>
            </a:extLst>
          </p:cNvPr>
          <p:cNvSpPr/>
          <p:nvPr/>
        </p:nvSpPr>
        <p:spPr>
          <a:xfrm>
            <a:off x="4355664" y="414318"/>
            <a:ext cx="641457" cy="507831"/>
          </a:xfrm>
          <a:prstGeom prst="rect">
            <a:avLst/>
          </a:prstGeom>
          <a:solidFill>
            <a:srgbClr val="FFFFFF"/>
          </a:solidFill>
        </p:spPr>
        <p:txBody>
          <a:bodyPr wrap="square">
            <a:spAutoFit/>
          </a:bodyPr>
          <a:lstStyle/>
          <a:p>
            <a:pPr>
              <a:defRPr/>
            </a:pPr>
            <a:r>
              <a:rPr lang="pt-BR" sz="900" dirty="0">
                <a:solidFill>
                  <a:prstClr val="black"/>
                </a:solidFill>
                <a:latin typeface="Calibri" panose="020F0502020204030204"/>
              </a:rPr>
              <a:t>3ª semana de abril</a:t>
            </a:r>
          </a:p>
        </p:txBody>
      </p:sp>
      <p:cxnSp>
        <p:nvCxnSpPr>
          <p:cNvPr id="87" name="Conector reto 86">
            <a:extLst>
              <a:ext uri="{FF2B5EF4-FFF2-40B4-BE49-F238E27FC236}">
                <a16:creationId xmlns:a16="http://schemas.microsoft.com/office/drawing/2014/main" id="{DAB31023-067B-48D4-A756-85579B44CAF0}"/>
              </a:ext>
            </a:extLst>
          </p:cNvPr>
          <p:cNvCxnSpPr>
            <a:cxnSpLocks/>
          </p:cNvCxnSpPr>
          <p:nvPr/>
        </p:nvCxnSpPr>
        <p:spPr>
          <a:xfrm>
            <a:off x="6032206" y="281150"/>
            <a:ext cx="0" cy="1502688"/>
          </a:xfrm>
          <a:prstGeom prst="line">
            <a:avLst/>
          </a:prstGeom>
          <a:ln>
            <a:solidFill>
              <a:srgbClr val="EC000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88" name="Retângulo 87">
            <a:extLst>
              <a:ext uri="{FF2B5EF4-FFF2-40B4-BE49-F238E27FC236}">
                <a16:creationId xmlns:a16="http://schemas.microsoft.com/office/drawing/2014/main" id="{8063B946-F6F0-41DE-A8BC-085082E24BE5}"/>
              </a:ext>
            </a:extLst>
          </p:cNvPr>
          <p:cNvSpPr/>
          <p:nvPr/>
        </p:nvSpPr>
        <p:spPr>
          <a:xfrm>
            <a:off x="6056237" y="395771"/>
            <a:ext cx="641457" cy="507831"/>
          </a:xfrm>
          <a:prstGeom prst="rect">
            <a:avLst/>
          </a:prstGeom>
          <a:solidFill>
            <a:srgbClr val="FFFFFF"/>
          </a:solidFill>
        </p:spPr>
        <p:txBody>
          <a:bodyPr wrap="square">
            <a:spAutoFit/>
          </a:bodyPr>
          <a:lstStyle/>
          <a:p>
            <a:pPr>
              <a:defRPr/>
            </a:pPr>
            <a:r>
              <a:rPr lang="pt-BR" sz="900" dirty="0">
                <a:solidFill>
                  <a:prstClr val="black"/>
                </a:solidFill>
                <a:latin typeface="Calibri" panose="020F0502020204030204"/>
              </a:rPr>
              <a:t>4ª semana de abril</a:t>
            </a:r>
          </a:p>
        </p:txBody>
      </p:sp>
      <p:cxnSp>
        <p:nvCxnSpPr>
          <p:cNvPr id="89" name="Conector reto 88">
            <a:extLst>
              <a:ext uri="{FF2B5EF4-FFF2-40B4-BE49-F238E27FC236}">
                <a16:creationId xmlns:a16="http://schemas.microsoft.com/office/drawing/2014/main" id="{931DA234-2F11-4DE9-A27D-1A3C7097730E}"/>
              </a:ext>
            </a:extLst>
          </p:cNvPr>
          <p:cNvCxnSpPr>
            <a:cxnSpLocks/>
          </p:cNvCxnSpPr>
          <p:nvPr/>
        </p:nvCxnSpPr>
        <p:spPr>
          <a:xfrm>
            <a:off x="7565425" y="323636"/>
            <a:ext cx="0" cy="1502688"/>
          </a:xfrm>
          <a:prstGeom prst="line">
            <a:avLst/>
          </a:prstGeom>
          <a:ln>
            <a:solidFill>
              <a:srgbClr val="EC000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90" name="Retângulo 89">
            <a:extLst>
              <a:ext uri="{FF2B5EF4-FFF2-40B4-BE49-F238E27FC236}">
                <a16:creationId xmlns:a16="http://schemas.microsoft.com/office/drawing/2014/main" id="{093B99BA-4C12-40F6-AFED-168C3D3B6A84}"/>
              </a:ext>
            </a:extLst>
          </p:cNvPr>
          <p:cNvSpPr/>
          <p:nvPr/>
        </p:nvSpPr>
        <p:spPr>
          <a:xfrm>
            <a:off x="7579753" y="399198"/>
            <a:ext cx="712042" cy="369332"/>
          </a:xfrm>
          <a:prstGeom prst="rect">
            <a:avLst/>
          </a:prstGeom>
          <a:solidFill>
            <a:srgbClr val="FFFFFF"/>
          </a:solidFill>
        </p:spPr>
        <p:txBody>
          <a:bodyPr wrap="square">
            <a:spAutoFit/>
          </a:bodyPr>
          <a:lstStyle/>
          <a:p>
            <a:pPr>
              <a:defRPr/>
            </a:pPr>
            <a:r>
              <a:rPr lang="pt-BR" sz="900" dirty="0">
                <a:solidFill>
                  <a:prstClr val="black"/>
                </a:solidFill>
                <a:latin typeface="Calibri" panose="020F0502020204030204"/>
              </a:rPr>
              <a:t>Final de abril</a:t>
            </a:r>
          </a:p>
        </p:txBody>
      </p:sp>
      <p:sp>
        <p:nvSpPr>
          <p:cNvPr id="81" name="Divisa 22">
            <a:extLst>
              <a:ext uri="{FF2B5EF4-FFF2-40B4-BE49-F238E27FC236}">
                <a16:creationId xmlns:a16="http://schemas.microsoft.com/office/drawing/2014/main" id="{C8A4D32F-2E8D-41E5-8A53-A6B286448BD2}"/>
              </a:ext>
            </a:extLst>
          </p:cNvPr>
          <p:cNvSpPr/>
          <p:nvPr/>
        </p:nvSpPr>
        <p:spPr>
          <a:xfrm>
            <a:off x="2649172" y="1191684"/>
            <a:ext cx="122629" cy="164850"/>
          </a:xfrm>
          <a:prstGeom prst="chevron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pt-BR" sz="900" dirty="0">
              <a:solidFill>
                <a:prstClr val="black"/>
              </a:solidFill>
              <a:latin typeface="Tw Cen MT Condensed" panose="020B0606020104020203" pitchFamily="34" charset="0"/>
            </a:endParaRPr>
          </a:p>
        </p:txBody>
      </p:sp>
      <p:sp>
        <p:nvSpPr>
          <p:cNvPr id="82" name="Divisa 23">
            <a:extLst>
              <a:ext uri="{FF2B5EF4-FFF2-40B4-BE49-F238E27FC236}">
                <a16:creationId xmlns:a16="http://schemas.microsoft.com/office/drawing/2014/main" id="{16F30EC4-4657-4FA4-9875-277835EC90A0}"/>
              </a:ext>
            </a:extLst>
          </p:cNvPr>
          <p:cNvSpPr/>
          <p:nvPr/>
        </p:nvSpPr>
        <p:spPr>
          <a:xfrm>
            <a:off x="2541603" y="1191684"/>
            <a:ext cx="122629" cy="164850"/>
          </a:xfrm>
          <a:prstGeom prst="chevron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pt-BR" sz="900" dirty="0">
              <a:solidFill>
                <a:prstClr val="black"/>
              </a:solidFill>
              <a:latin typeface="Tw Cen MT Condensed" panose="020B0606020104020203" pitchFamily="34" charset="0"/>
            </a:endParaRPr>
          </a:p>
        </p:txBody>
      </p:sp>
      <p:sp>
        <p:nvSpPr>
          <p:cNvPr id="83" name="Divisa 24">
            <a:extLst>
              <a:ext uri="{FF2B5EF4-FFF2-40B4-BE49-F238E27FC236}">
                <a16:creationId xmlns:a16="http://schemas.microsoft.com/office/drawing/2014/main" id="{0B929574-01E9-45EA-8C44-4A6A32A8DA68}"/>
              </a:ext>
            </a:extLst>
          </p:cNvPr>
          <p:cNvSpPr/>
          <p:nvPr/>
        </p:nvSpPr>
        <p:spPr>
          <a:xfrm>
            <a:off x="2434034" y="1191684"/>
            <a:ext cx="122629" cy="164850"/>
          </a:xfrm>
          <a:prstGeom prst="chevron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pt-BR" sz="900" dirty="0">
              <a:solidFill>
                <a:prstClr val="black"/>
              </a:solidFill>
              <a:latin typeface="Tw Cen MT Condensed" panose="020B0606020104020203" pitchFamily="34" charset="0"/>
            </a:endParaRPr>
          </a:p>
        </p:txBody>
      </p:sp>
      <p:sp>
        <p:nvSpPr>
          <p:cNvPr id="84" name="Divisa 25">
            <a:extLst>
              <a:ext uri="{FF2B5EF4-FFF2-40B4-BE49-F238E27FC236}">
                <a16:creationId xmlns:a16="http://schemas.microsoft.com/office/drawing/2014/main" id="{3129A874-82D3-4533-B417-A63AB7C68750}"/>
              </a:ext>
            </a:extLst>
          </p:cNvPr>
          <p:cNvSpPr/>
          <p:nvPr/>
        </p:nvSpPr>
        <p:spPr>
          <a:xfrm>
            <a:off x="6254337" y="1191684"/>
            <a:ext cx="122629" cy="164850"/>
          </a:xfrm>
          <a:prstGeom prst="chevron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pt-BR" sz="900" dirty="0">
              <a:solidFill>
                <a:prstClr val="black"/>
              </a:solidFill>
              <a:latin typeface="Tw Cen MT Condensed" panose="020B0606020104020203" pitchFamily="34" charset="0"/>
            </a:endParaRPr>
          </a:p>
        </p:txBody>
      </p:sp>
      <p:sp>
        <p:nvSpPr>
          <p:cNvPr id="85" name="Divisa 27">
            <a:extLst>
              <a:ext uri="{FF2B5EF4-FFF2-40B4-BE49-F238E27FC236}">
                <a16:creationId xmlns:a16="http://schemas.microsoft.com/office/drawing/2014/main" id="{68FB0960-A7E9-4A95-A316-5F2BAEB9E571}"/>
              </a:ext>
            </a:extLst>
          </p:cNvPr>
          <p:cNvSpPr/>
          <p:nvPr/>
        </p:nvSpPr>
        <p:spPr>
          <a:xfrm>
            <a:off x="6146768" y="1191684"/>
            <a:ext cx="122629" cy="164850"/>
          </a:xfrm>
          <a:prstGeom prst="chevron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pt-BR" sz="900" dirty="0">
              <a:solidFill>
                <a:prstClr val="black"/>
              </a:solidFill>
              <a:latin typeface="Tw Cen MT Condensed" panose="020B0606020104020203" pitchFamily="34" charset="0"/>
            </a:endParaRPr>
          </a:p>
        </p:txBody>
      </p:sp>
      <p:sp>
        <p:nvSpPr>
          <p:cNvPr id="86" name="Divisa 28">
            <a:extLst>
              <a:ext uri="{FF2B5EF4-FFF2-40B4-BE49-F238E27FC236}">
                <a16:creationId xmlns:a16="http://schemas.microsoft.com/office/drawing/2014/main" id="{6ECF3744-6554-415A-BC66-3E07A9257DA8}"/>
              </a:ext>
            </a:extLst>
          </p:cNvPr>
          <p:cNvSpPr/>
          <p:nvPr/>
        </p:nvSpPr>
        <p:spPr>
          <a:xfrm>
            <a:off x="6039199" y="1191684"/>
            <a:ext cx="122629" cy="164850"/>
          </a:xfrm>
          <a:prstGeom prst="chevron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pt-BR" sz="900" dirty="0">
              <a:solidFill>
                <a:prstClr val="black"/>
              </a:solidFill>
              <a:latin typeface="Tw Cen MT Condensed" panose="020B0606020104020203" pitchFamily="34" charset="0"/>
            </a:endParaRPr>
          </a:p>
        </p:txBody>
      </p:sp>
      <p:sp>
        <p:nvSpPr>
          <p:cNvPr id="80" name="Divisa 21">
            <a:extLst>
              <a:ext uri="{FF2B5EF4-FFF2-40B4-BE49-F238E27FC236}">
                <a16:creationId xmlns:a16="http://schemas.microsoft.com/office/drawing/2014/main" id="{D75C4E7E-7E5E-4FF8-9224-AC993E789AC6}"/>
              </a:ext>
            </a:extLst>
          </p:cNvPr>
          <p:cNvSpPr/>
          <p:nvPr/>
        </p:nvSpPr>
        <p:spPr>
          <a:xfrm>
            <a:off x="2760608" y="1191684"/>
            <a:ext cx="3285732" cy="164850"/>
          </a:xfrm>
          <a:prstGeom prst="chevron">
            <a:avLst>
              <a:gd name="adj" fmla="val 39888"/>
            </a:avLst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pt-BR" sz="900" b="1" dirty="0">
                <a:solidFill>
                  <a:prstClr val="white"/>
                </a:solidFill>
                <a:latin typeface="Tw Cen MT Condensed" panose="020B0606020104020203" pitchFamily="34" charset="0"/>
              </a:rPr>
              <a:t>Mapeamento</a:t>
            </a:r>
          </a:p>
        </p:txBody>
      </p:sp>
      <p:sp>
        <p:nvSpPr>
          <p:cNvPr id="48" name="Divisa 105">
            <a:extLst>
              <a:ext uri="{FF2B5EF4-FFF2-40B4-BE49-F238E27FC236}">
                <a16:creationId xmlns:a16="http://schemas.microsoft.com/office/drawing/2014/main" id="{E34E3B03-A4F0-4FB0-9E51-4A8B00EF90C4}"/>
              </a:ext>
            </a:extLst>
          </p:cNvPr>
          <p:cNvSpPr/>
          <p:nvPr/>
        </p:nvSpPr>
        <p:spPr>
          <a:xfrm>
            <a:off x="6369824" y="1952696"/>
            <a:ext cx="1081883" cy="156434"/>
          </a:xfrm>
          <a:prstGeom prst="chevron">
            <a:avLst>
              <a:gd name="adj" fmla="val 39888"/>
            </a:avLst>
          </a:prstGeom>
          <a:solidFill>
            <a:schemeClr val="accent5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>
              <a:defRPr/>
            </a:pPr>
            <a:r>
              <a:rPr lang="pt-BR" sz="825" b="1" dirty="0" err="1">
                <a:solidFill>
                  <a:prstClr val="white"/>
                </a:solidFill>
                <a:latin typeface="Tw Cen MT Condensed" panose="020B0606020104020203" pitchFamily="34" charset="0"/>
              </a:rPr>
              <a:t>GrupoTransição</a:t>
            </a:r>
            <a:endParaRPr lang="pt-BR" sz="825" b="1" dirty="0">
              <a:solidFill>
                <a:prstClr val="white"/>
              </a:solidFill>
              <a:latin typeface="Tw Cen MT Condensed" panose="020B06060201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322899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exto 1">
            <a:extLst>
              <a:ext uri="{FF2B5EF4-FFF2-40B4-BE49-F238E27FC236}">
                <a16:creationId xmlns:a16="http://schemas.microsoft.com/office/drawing/2014/main" id="{860721E2-33B4-4290-9551-3258E061851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4203" y="575841"/>
            <a:ext cx="7953374" cy="383260"/>
          </a:xfrm>
        </p:spPr>
        <p:txBody>
          <a:bodyPr/>
          <a:lstStyle/>
          <a:p>
            <a:r>
              <a:rPr lang="pt-BR" sz="1500" dirty="0"/>
              <a:t>RESPONSABILIDADES das </a:t>
            </a:r>
            <a:r>
              <a:rPr lang="pt-BR" sz="1500" dirty="0" err="1"/>
              <a:t>squads</a:t>
            </a:r>
            <a:r>
              <a:rPr lang="pt-BR" sz="1500" dirty="0"/>
              <a:t> </a:t>
            </a:r>
            <a:r>
              <a:rPr lang="pt-BR" sz="1500" dirty="0">
                <a:solidFill>
                  <a:srgbClr val="FF0000"/>
                </a:solidFill>
              </a:rPr>
              <a:t>x </a:t>
            </a:r>
            <a:r>
              <a:rPr lang="pt-BR" sz="1500" dirty="0" err="1"/>
              <a:t>papÉis</a:t>
            </a:r>
            <a:endParaRPr lang="pt-BR" sz="1500" dirty="0"/>
          </a:p>
        </p:txBody>
      </p:sp>
      <p:sp>
        <p:nvSpPr>
          <p:cNvPr id="12" name="Oval 35">
            <a:extLst>
              <a:ext uri="{FF2B5EF4-FFF2-40B4-BE49-F238E27FC236}">
                <a16:creationId xmlns:a16="http://schemas.microsoft.com/office/drawing/2014/main" id="{A5744755-09BE-45E7-98E7-319DB6BE805E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9063" y="1055717"/>
            <a:ext cx="931562" cy="961067"/>
          </a:xfrm>
          <a:prstGeom prst="ellipse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txBody>
          <a:bodyPr vert="horz" wrap="square" lIns="34290" tIns="17145" rIns="34290" bIns="17145" numCol="1" anchor="ctr" anchorCtr="0" compatLnSpc="1">
            <a:prstTxWarp prst="textNoShape">
              <a:avLst/>
            </a:prstTxWarp>
          </a:bodyPr>
          <a:lstStyle/>
          <a:p>
            <a:pPr algn="ctr" defTabSz="685783">
              <a:defRPr/>
            </a:pPr>
            <a:r>
              <a:rPr lang="en-US" dirty="0">
                <a:solidFill>
                  <a:prstClr val="white"/>
                </a:solidFill>
                <a:latin typeface="Calibri" panose="020F0502020204030204"/>
              </a:rPr>
              <a:t>SQUAD</a:t>
            </a:r>
          </a:p>
        </p:txBody>
      </p:sp>
      <p:grpSp>
        <p:nvGrpSpPr>
          <p:cNvPr id="2077" name="Agrupar 2076">
            <a:extLst>
              <a:ext uri="{FF2B5EF4-FFF2-40B4-BE49-F238E27FC236}">
                <a16:creationId xmlns:a16="http://schemas.microsoft.com/office/drawing/2014/main" id="{A0E5690C-21FC-48AF-8630-8CBEA0D4E2EE}"/>
              </a:ext>
            </a:extLst>
          </p:cNvPr>
          <p:cNvGrpSpPr/>
          <p:nvPr/>
        </p:nvGrpSpPr>
        <p:grpSpPr>
          <a:xfrm>
            <a:off x="308851" y="2530925"/>
            <a:ext cx="4378861" cy="2365369"/>
            <a:chOff x="5727700" y="1431753"/>
            <a:chExt cx="5838481" cy="3153825"/>
          </a:xfrm>
        </p:grpSpPr>
        <p:sp>
          <p:nvSpPr>
            <p:cNvPr id="16" name="Retângulo: Cantos Arredondados 15">
              <a:extLst>
                <a:ext uri="{FF2B5EF4-FFF2-40B4-BE49-F238E27FC236}">
                  <a16:creationId xmlns:a16="http://schemas.microsoft.com/office/drawing/2014/main" id="{B3A3B49F-4308-4360-9714-846131517861}"/>
                </a:ext>
              </a:extLst>
            </p:cNvPr>
            <p:cNvSpPr/>
            <p:nvPr/>
          </p:nvSpPr>
          <p:spPr>
            <a:xfrm>
              <a:off x="5727700" y="1431753"/>
              <a:ext cx="5838481" cy="3153825"/>
            </a:xfrm>
            <a:prstGeom prst="roundRect">
              <a:avLst>
                <a:gd name="adj" fmla="val 0"/>
              </a:avLst>
            </a:prstGeom>
            <a:solidFill>
              <a:schemeClr val="bg1">
                <a:lumMod val="65000"/>
                <a:alpha val="25000"/>
              </a:schemeClr>
            </a:solidFill>
            <a:ln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pt-BR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grpSp>
          <p:nvGrpSpPr>
            <p:cNvPr id="15" name="Agrupar 14">
              <a:extLst>
                <a:ext uri="{FF2B5EF4-FFF2-40B4-BE49-F238E27FC236}">
                  <a16:creationId xmlns:a16="http://schemas.microsoft.com/office/drawing/2014/main" id="{54DFC9CB-E8C2-4307-9C8C-EC58DAD531DB}"/>
                </a:ext>
              </a:extLst>
            </p:cNvPr>
            <p:cNvGrpSpPr/>
            <p:nvPr/>
          </p:nvGrpSpPr>
          <p:grpSpPr>
            <a:xfrm>
              <a:off x="5848843" y="2484520"/>
              <a:ext cx="2776028" cy="773476"/>
              <a:chOff x="3495673" y="2038349"/>
              <a:chExt cx="1971676" cy="970889"/>
            </a:xfrm>
          </p:grpSpPr>
          <p:sp>
            <p:nvSpPr>
              <p:cNvPr id="13" name="CaixaDeTexto 12">
                <a:extLst>
                  <a:ext uri="{FF2B5EF4-FFF2-40B4-BE49-F238E27FC236}">
                    <a16:creationId xmlns:a16="http://schemas.microsoft.com/office/drawing/2014/main" id="{93A79738-6416-4FEB-BA5B-DB0F07AADADE}"/>
                  </a:ext>
                </a:extLst>
              </p:cNvPr>
              <p:cNvSpPr txBox="1"/>
              <p:nvPr/>
            </p:nvSpPr>
            <p:spPr>
              <a:xfrm>
                <a:off x="3495674" y="2313846"/>
                <a:ext cx="1971675" cy="69539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65000"/>
                  </a:schemeClr>
                </a:solidFill>
              </a:ln>
            </p:spPr>
            <p:txBody>
              <a:bodyPr wrap="square" rtlCol="0">
                <a:spAutoFit/>
              </a:bodyPr>
              <a:lstStyle/>
              <a:p>
                <a:pPr>
                  <a:defRPr/>
                </a:pPr>
                <a:r>
                  <a:rPr lang="pt-BR" sz="1050" dirty="0">
                    <a:solidFill>
                      <a:prstClr val="black"/>
                    </a:solidFill>
                    <a:latin typeface="Calibri" panose="020F0502020204030204"/>
                  </a:rPr>
                  <a:t>Planejamento tático de produto, refinamento e priorização. </a:t>
                </a:r>
              </a:p>
            </p:txBody>
          </p:sp>
          <p:sp>
            <p:nvSpPr>
              <p:cNvPr id="14" name="Retângulo 13">
                <a:extLst>
                  <a:ext uri="{FF2B5EF4-FFF2-40B4-BE49-F238E27FC236}">
                    <a16:creationId xmlns:a16="http://schemas.microsoft.com/office/drawing/2014/main" id="{8C3BE05E-799F-4302-A6A0-34B5729B3A8D}"/>
                  </a:ext>
                </a:extLst>
              </p:cNvPr>
              <p:cNvSpPr/>
              <p:nvPr/>
            </p:nvSpPr>
            <p:spPr>
              <a:xfrm>
                <a:off x="3495673" y="2038349"/>
                <a:ext cx="1971674" cy="275497"/>
              </a:xfrm>
              <a:prstGeom prst="rect">
                <a:avLst/>
              </a:prstGeom>
              <a:solidFill>
                <a:srgbClr val="000000">
                  <a:lumMod val="65000"/>
                  <a:lumOff val="35000"/>
                </a:srgbClr>
              </a:solidFill>
              <a:ln w="12700" cap="flat">
                <a:solidFill>
                  <a:srgbClr val="D6D5D5">
                    <a:lumMod val="50000"/>
                  </a:srgbClr>
                </a:solidFill>
                <a:miter lim="400000"/>
              </a:ln>
              <a:effectLst/>
              <a:sp3d/>
            </p:spPr>
            <p:txBody>
              <a:bodyPr rot="0" spcFirstLastPara="1" vertOverflow="overflow" horzOverflow="overflow" vert="horz" wrap="square" lIns="38100" tIns="38100" rIns="38100" bIns="38100" numCol="1" spcCol="38100" rtlCol="0" anchor="ctr">
                <a:noAutofit/>
              </a:bodyPr>
              <a:lstStyle/>
              <a:p>
                <a:pPr algn="ctr" defTabSz="438150" hangingPunct="0">
                  <a:defRPr/>
                </a:pPr>
                <a:r>
                  <a:rPr lang="pt-BR" sz="825" kern="0" dirty="0">
                    <a:solidFill>
                      <a:srgbClr val="FFFFFF"/>
                    </a:solidFill>
                    <a:latin typeface="Helvetica Neue Medium"/>
                    <a:sym typeface="Helvetica Neue Medium"/>
                  </a:rPr>
                  <a:t>PLANEJAMENTO</a:t>
                </a:r>
              </a:p>
            </p:txBody>
          </p:sp>
        </p:grpSp>
        <p:pic>
          <p:nvPicPr>
            <p:cNvPr id="17" name="Imagem" descr="Imagem">
              <a:hlinkClick r:id="" action="ppaction://noaction"/>
              <a:extLst>
                <a:ext uri="{FF2B5EF4-FFF2-40B4-BE49-F238E27FC236}">
                  <a16:creationId xmlns:a16="http://schemas.microsoft.com/office/drawing/2014/main" id="{D42EBB65-8195-42B9-BB50-B2E0121680AB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165505" y="2626328"/>
              <a:ext cx="747948" cy="747947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  <p:sp>
          <p:nvSpPr>
            <p:cNvPr id="18" name="CaixaDeTexto 17">
              <a:extLst>
                <a:ext uri="{FF2B5EF4-FFF2-40B4-BE49-F238E27FC236}">
                  <a16:creationId xmlns:a16="http://schemas.microsoft.com/office/drawing/2014/main" id="{613E2547-592D-4CB9-8034-BE069A55EACA}"/>
                </a:ext>
              </a:extLst>
            </p:cNvPr>
            <p:cNvSpPr txBox="1"/>
            <p:nvPr/>
          </p:nvSpPr>
          <p:spPr>
            <a:xfrm>
              <a:off x="8940358" y="3393650"/>
              <a:ext cx="1198243" cy="271869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txBody>
            <a:bodyPr rot="0" spcFirstLastPara="1" vertOverflow="overflow" horzOverflow="overflow" vert="horz" wrap="square" lIns="38100" tIns="38100" rIns="38100" bIns="38100" numCol="1" spcCol="38100" rtlCol="0" anchor="t">
              <a:spAutoFit/>
            </a:bodyPr>
            <a:lstStyle/>
            <a:p>
              <a:pPr algn="ctr" defTabSz="438150" hangingPunct="0">
                <a:defRPr/>
              </a:pPr>
              <a:r>
                <a:rPr lang="pt-BR" sz="825" kern="0" dirty="0">
                  <a:solidFill>
                    <a:srgbClr val="000000"/>
                  </a:solidFill>
                  <a:latin typeface="Helvetica Neue"/>
                  <a:sym typeface="Helvetica Neue"/>
                </a:rPr>
                <a:t>(</a:t>
              </a:r>
              <a:r>
                <a:rPr lang="pt-BR" sz="825" kern="0" dirty="0" err="1">
                  <a:solidFill>
                    <a:srgbClr val="000000"/>
                  </a:solidFill>
                  <a:latin typeface="Helvetica Neue"/>
                  <a:sym typeface="Helvetica Neue"/>
                </a:rPr>
                <a:t>Product</a:t>
              </a:r>
              <a:r>
                <a:rPr lang="pt-BR" sz="825" kern="0" dirty="0">
                  <a:solidFill>
                    <a:srgbClr val="000000"/>
                  </a:solidFill>
                  <a:latin typeface="Helvetica Neue"/>
                  <a:sym typeface="Helvetica Neue"/>
                </a:rPr>
                <a:t> </a:t>
              </a:r>
              <a:r>
                <a:rPr lang="pt-BR" sz="825" kern="0" dirty="0" err="1">
                  <a:solidFill>
                    <a:srgbClr val="000000"/>
                  </a:solidFill>
                  <a:latin typeface="Helvetica Neue"/>
                  <a:sym typeface="Helvetica Neue"/>
                </a:rPr>
                <a:t>Owner</a:t>
              </a:r>
              <a:r>
                <a:rPr lang="pt-BR" sz="825" kern="0" dirty="0">
                  <a:solidFill>
                    <a:srgbClr val="000000"/>
                  </a:solidFill>
                  <a:latin typeface="Helvetica Neue"/>
                  <a:sym typeface="Helvetica Neue"/>
                </a:rPr>
                <a:t>)</a:t>
              </a:r>
            </a:p>
          </p:txBody>
        </p:sp>
        <p:grpSp>
          <p:nvGrpSpPr>
            <p:cNvPr id="19" name="Agrupar 18">
              <a:extLst>
                <a:ext uri="{FF2B5EF4-FFF2-40B4-BE49-F238E27FC236}">
                  <a16:creationId xmlns:a16="http://schemas.microsoft.com/office/drawing/2014/main" id="{7CA648E5-60E6-4A89-954B-B9C8EB687B30}"/>
                </a:ext>
              </a:extLst>
            </p:cNvPr>
            <p:cNvGrpSpPr/>
            <p:nvPr/>
          </p:nvGrpSpPr>
          <p:grpSpPr>
            <a:xfrm>
              <a:off x="5848843" y="1525633"/>
              <a:ext cx="2776025" cy="829495"/>
              <a:chOff x="3495673" y="2038349"/>
              <a:chExt cx="1971676" cy="829495"/>
            </a:xfrm>
          </p:grpSpPr>
          <p:sp>
            <p:nvSpPr>
              <p:cNvPr id="20" name="CaixaDeTexto 19">
                <a:extLst>
                  <a:ext uri="{FF2B5EF4-FFF2-40B4-BE49-F238E27FC236}">
                    <a16:creationId xmlns:a16="http://schemas.microsoft.com/office/drawing/2014/main" id="{E153134F-752B-4700-AAED-DB2EF842541C}"/>
                  </a:ext>
                </a:extLst>
              </p:cNvPr>
              <p:cNvSpPr txBox="1"/>
              <p:nvPr/>
            </p:nvSpPr>
            <p:spPr>
              <a:xfrm>
                <a:off x="3495674" y="2313847"/>
                <a:ext cx="1971675" cy="553997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65000"/>
                  </a:schemeClr>
                </a:solidFill>
              </a:ln>
            </p:spPr>
            <p:txBody>
              <a:bodyPr wrap="square" rtlCol="0">
                <a:spAutoFit/>
              </a:bodyPr>
              <a:lstStyle/>
              <a:p>
                <a:pPr>
                  <a:defRPr/>
                </a:pPr>
                <a:r>
                  <a:rPr lang="pt-BR" sz="1050" dirty="0">
                    <a:solidFill>
                      <a:prstClr val="black"/>
                    </a:solidFill>
                    <a:latin typeface="Calibri" panose="020F0502020204030204"/>
                  </a:rPr>
                  <a:t>Gestão das expectativas dos stakeholders.</a:t>
                </a:r>
              </a:p>
            </p:txBody>
          </p:sp>
          <p:sp>
            <p:nvSpPr>
              <p:cNvPr id="21" name="Retângulo 20">
                <a:extLst>
                  <a:ext uri="{FF2B5EF4-FFF2-40B4-BE49-F238E27FC236}">
                    <a16:creationId xmlns:a16="http://schemas.microsoft.com/office/drawing/2014/main" id="{60B39FAC-A880-491C-941E-E0D12A9C80DA}"/>
                  </a:ext>
                </a:extLst>
              </p:cNvPr>
              <p:cNvSpPr/>
              <p:nvPr/>
            </p:nvSpPr>
            <p:spPr>
              <a:xfrm>
                <a:off x="3495673" y="2038349"/>
                <a:ext cx="1971674" cy="275497"/>
              </a:xfrm>
              <a:prstGeom prst="rect">
                <a:avLst/>
              </a:prstGeom>
              <a:solidFill>
                <a:srgbClr val="000000">
                  <a:lumMod val="65000"/>
                  <a:lumOff val="35000"/>
                </a:srgbClr>
              </a:solidFill>
              <a:ln w="12700" cap="flat">
                <a:solidFill>
                  <a:srgbClr val="D6D5D5">
                    <a:lumMod val="50000"/>
                  </a:srgbClr>
                </a:solidFill>
                <a:miter lim="400000"/>
              </a:ln>
              <a:effectLst/>
              <a:sp3d/>
            </p:spPr>
            <p:txBody>
              <a:bodyPr rot="0" spcFirstLastPara="1" vertOverflow="overflow" horzOverflow="overflow" vert="horz" wrap="square" lIns="38100" tIns="38100" rIns="38100" bIns="38100" numCol="1" spcCol="38100" rtlCol="0" anchor="ctr">
                <a:noAutofit/>
              </a:bodyPr>
              <a:lstStyle/>
              <a:p>
                <a:pPr algn="ctr" defTabSz="438150" hangingPunct="0">
                  <a:defRPr/>
                </a:pPr>
                <a:r>
                  <a:rPr lang="pt-BR" sz="825" kern="0" dirty="0">
                    <a:solidFill>
                      <a:srgbClr val="FFFFFF"/>
                    </a:solidFill>
                    <a:latin typeface="Helvetica Neue Medium"/>
                    <a:sym typeface="Helvetica Neue Medium"/>
                  </a:rPr>
                  <a:t>NEGÓCIO</a:t>
                </a:r>
              </a:p>
            </p:txBody>
          </p:sp>
        </p:grpSp>
        <p:grpSp>
          <p:nvGrpSpPr>
            <p:cNvPr id="36" name="Agrupar 35">
              <a:extLst>
                <a:ext uri="{FF2B5EF4-FFF2-40B4-BE49-F238E27FC236}">
                  <a16:creationId xmlns:a16="http://schemas.microsoft.com/office/drawing/2014/main" id="{961FCDDC-E591-48BE-8FD9-33ADA9D696A0}"/>
                </a:ext>
              </a:extLst>
            </p:cNvPr>
            <p:cNvGrpSpPr/>
            <p:nvPr/>
          </p:nvGrpSpPr>
          <p:grpSpPr>
            <a:xfrm>
              <a:off x="10454087" y="1663380"/>
              <a:ext cx="1024766" cy="1179100"/>
              <a:chOff x="9103360" y="2170864"/>
              <a:chExt cx="875597" cy="1002109"/>
            </a:xfrm>
          </p:grpSpPr>
          <p:pic>
            <p:nvPicPr>
              <p:cNvPr id="2050" name="Picture 2" descr="Resultado de imagem para Product Backlog">
                <a:extLst>
                  <a:ext uri="{FF2B5EF4-FFF2-40B4-BE49-F238E27FC236}">
                    <a16:creationId xmlns:a16="http://schemas.microsoft.com/office/drawing/2014/main" id="{150A6D5C-0DBD-4449-94BF-D30D85353AFE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3" cstate="email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 bwMode="auto">
              <a:xfrm>
                <a:off x="9130633" y="2170864"/>
                <a:ext cx="838165" cy="772494"/>
              </a:xfrm>
              <a:prstGeom prst="rect">
                <a:avLst/>
              </a:prstGeom>
              <a:noFill/>
              <a:ln>
                <a:solidFill>
                  <a:schemeClr val="bg1">
                    <a:lumMod val="65000"/>
                  </a:schemeClr>
                </a:solidFill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23" name="CaixaDeTexto 22">
                <a:extLst>
                  <a:ext uri="{FF2B5EF4-FFF2-40B4-BE49-F238E27FC236}">
                    <a16:creationId xmlns:a16="http://schemas.microsoft.com/office/drawing/2014/main" id="{10A527D5-6C51-4E0D-956C-E5FEA1564980}"/>
                  </a:ext>
                </a:extLst>
              </p:cNvPr>
              <p:cNvSpPr txBox="1"/>
              <p:nvPr/>
            </p:nvSpPr>
            <p:spPr>
              <a:xfrm>
                <a:off x="9103360" y="2924474"/>
                <a:ext cx="875597" cy="248499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>
                  <a:defRPr/>
                </a:pPr>
                <a:r>
                  <a:rPr lang="pt-BR" sz="825" dirty="0">
                    <a:solidFill>
                      <a:prstClr val="black">
                        <a:lumMod val="65000"/>
                        <a:lumOff val="35000"/>
                      </a:prstClr>
                    </a:solidFill>
                    <a:latin typeface="Calibri" panose="020F0502020204030204"/>
                  </a:rPr>
                  <a:t>Backlog</a:t>
                </a:r>
              </a:p>
            </p:txBody>
          </p:sp>
        </p:grpSp>
        <p:grpSp>
          <p:nvGrpSpPr>
            <p:cNvPr id="32" name="Agrupar 31">
              <a:extLst>
                <a:ext uri="{FF2B5EF4-FFF2-40B4-BE49-F238E27FC236}">
                  <a16:creationId xmlns:a16="http://schemas.microsoft.com/office/drawing/2014/main" id="{0DA9EB8E-8252-41A7-895D-8EA6E79B1C9D}"/>
                </a:ext>
              </a:extLst>
            </p:cNvPr>
            <p:cNvGrpSpPr/>
            <p:nvPr/>
          </p:nvGrpSpPr>
          <p:grpSpPr>
            <a:xfrm>
              <a:off x="5848843" y="3445307"/>
              <a:ext cx="2776367" cy="1044940"/>
              <a:chOff x="3495673" y="2038349"/>
              <a:chExt cx="1971921" cy="1044940"/>
            </a:xfrm>
          </p:grpSpPr>
          <p:sp>
            <p:nvSpPr>
              <p:cNvPr id="33" name="CaixaDeTexto 32">
                <a:extLst>
                  <a:ext uri="{FF2B5EF4-FFF2-40B4-BE49-F238E27FC236}">
                    <a16:creationId xmlns:a16="http://schemas.microsoft.com/office/drawing/2014/main" id="{EBF220AF-DFDD-4460-AF9E-62C5538A6233}"/>
                  </a:ext>
                </a:extLst>
              </p:cNvPr>
              <p:cNvSpPr txBox="1"/>
              <p:nvPr/>
            </p:nvSpPr>
            <p:spPr>
              <a:xfrm>
                <a:off x="3495674" y="2313848"/>
                <a:ext cx="1971674" cy="769441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65000"/>
                  </a:schemeClr>
                </a:solidFill>
              </a:ln>
            </p:spPr>
            <p:txBody>
              <a:bodyPr wrap="square" rtlCol="0">
                <a:spAutoFit/>
              </a:bodyPr>
              <a:lstStyle/>
              <a:p>
                <a:pPr>
                  <a:defRPr/>
                </a:pPr>
                <a:r>
                  <a:rPr lang="pt-BR" sz="1050" dirty="0">
                    <a:solidFill>
                      <a:prstClr val="black"/>
                    </a:solidFill>
                    <a:latin typeface="Calibri" panose="020F0502020204030204"/>
                  </a:rPr>
                  <a:t>Indicadores do produto e administração dos recursos financeiros.</a:t>
                </a:r>
              </a:p>
            </p:txBody>
          </p:sp>
          <p:sp>
            <p:nvSpPr>
              <p:cNvPr id="34" name="Retângulo 33">
                <a:extLst>
                  <a:ext uri="{FF2B5EF4-FFF2-40B4-BE49-F238E27FC236}">
                    <a16:creationId xmlns:a16="http://schemas.microsoft.com/office/drawing/2014/main" id="{17B71920-1387-4612-B812-B4114496CD35}"/>
                  </a:ext>
                </a:extLst>
              </p:cNvPr>
              <p:cNvSpPr/>
              <p:nvPr/>
            </p:nvSpPr>
            <p:spPr>
              <a:xfrm>
                <a:off x="3495673" y="2038349"/>
                <a:ext cx="1971921" cy="280519"/>
              </a:xfrm>
              <a:prstGeom prst="rect">
                <a:avLst/>
              </a:prstGeom>
              <a:solidFill>
                <a:srgbClr val="000000">
                  <a:lumMod val="65000"/>
                  <a:lumOff val="35000"/>
                </a:srgbClr>
              </a:solidFill>
              <a:ln w="12700" cap="flat">
                <a:solidFill>
                  <a:srgbClr val="D6D5D5">
                    <a:lumMod val="50000"/>
                  </a:srgbClr>
                </a:solidFill>
                <a:miter lim="400000"/>
              </a:ln>
              <a:effectLst/>
              <a:sp3d/>
            </p:spPr>
            <p:txBody>
              <a:bodyPr rot="0" spcFirstLastPara="1" vertOverflow="overflow" horzOverflow="overflow" vert="horz" wrap="square" lIns="38100" tIns="38100" rIns="38100" bIns="38100" numCol="1" spcCol="38100" rtlCol="0" anchor="ctr">
                <a:noAutofit/>
              </a:bodyPr>
              <a:lstStyle/>
              <a:p>
                <a:pPr algn="ctr" defTabSz="438150" hangingPunct="0">
                  <a:defRPr/>
                </a:pPr>
                <a:r>
                  <a:rPr lang="pt-BR" sz="825" kern="0" dirty="0">
                    <a:solidFill>
                      <a:srgbClr val="FFFFFF"/>
                    </a:solidFill>
                    <a:latin typeface="Helvetica Neue Medium"/>
                    <a:sym typeface="Helvetica Neue Medium"/>
                  </a:rPr>
                  <a:t>GESTÃO</a:t>
                </a:r>
              </a:p>
            </p:txBody>
          </p:sp>
        </p:grpSp>
        <p:cxnSp>
          <p:nvCxnSpPr>
            <p:cNvPr id="38" name="Conector: Angulado 37">
              <a:extLst>
                <a:ext uri="{FF2B5EF4-FFF2-40B4-BE49-F238E27FC236}">
                  <a16:creationId xmlns:a16="http://schemas.microsoft.com/office/drawing/2014/main" id="{701C33EF-FB0F-4046-B71B-5C4026A550E1}"/>
                </a:ext>
              </a:extLst>
            </p:cNvPr>
            <p:cNvCxnSpPr>
              <a:stCxn id="13" idx="3"/>
              <a:endCxn id="17" idx="1"/>
            </p:cNvCxnSpPr>
            <p:nvPr/>
          </p:nvCxnSpPr>
          <p:spPr>
            <a:xfrm>
              <a:off x="8624871" y="2980998"/>
              <a:ext cx="540635" cy="19303"/>
            </a:xfrm>
            <a:prstGeom prst="bentConnector3">
              <a:avLst>
                <a:gd name="adj1" fmla="val 50000"/>
              </a:avLst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Conector: Angulado 39">
              <a:extLst>
                <a:ext uri="{FF2B5EF4-FFF2-40B4-BE49-F238E27FC236}">
                  <a16:creationId xmlns:a16="http://schemas.microsoft.com/office/drawing/2014/main" id="{9D946A0F-E785-416B-97EA-0A3004AE495A}"/>
                </a:ext>
              </a:extLst>
            </p:cNvPr>
            <p:cNvCxnSpPr>
              <a:stCxn id="20" idx="3"/>
              <a:endCxn id="17" idx="1"/>
            </p:cNvCxnSpPr>
            <p:nvPr/>
          </p:nvCxnSpPr>
          <p:spPr>
            <a:xfrm>
              <a:off x="8624868" y="2078129"/>
              <a:ext cx="540637" cy="922172"/>
            </a:xfrm>
            <a:prstGeom prst="bentConnector3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Conector: Angulado 43">
              <a:extLst>
                <a:ext uri="{FF2B5EF4-FFF2-40B4-BE49-F238E27FC236}">
                  <a16:creationId xmlns:a16="http://schemas.microsoft.com/office/drawing/2014/main" id="{59055855-4719-4FAA-9540-EF4856555766}"/>
                </a:ext>
              </a:extLst>
            </p:cNvPr>
            <p:cNvCxnSpPr>
              <a:cxnSpLocks/>
              <a:stCxn id="33" idx="3"/>
              <a:endCxn id="17" idx="1"/>
            </p:cNvCxnSpPr>
            <p:nvPr/>
          </p:nvCxnSpPr>
          <p:spPr>
            <a:xfrm flipV="1">
              <a:off x="8624863" y="3000301"/>
              <a:ext cx="540643" cy="1105227"/>
            </a:xfrm>
            <a:prstGeom prst="bentConnector3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2052" name="Picture 4" descr="Resultado de imagem para burnup e burndown">
              <a:extLst>
                <a:ext uri="{FF2B5EF4-FFF2-40B4-BE49-F238E27FC236}">
                  <a16:creationId xmlns:a16="http://schemas.microsoft.com/office/drawing/2014/main" id="{5657DE7F-7277-4C6D-9E59-193C28AD4ECC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4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8436"/>
            <a:stretch/>
          </p:blipFill>
          <p:spPr bwMode="auto">
            <a:xfrm>
              <a:off x="10454087" y="3052658"/>
              <a:ext cx="1005859" cy="1122258"/>
            </a:xfrm>
            <a:prstGeom prst="rect">
              <a:avLst/>
            </a:prstGeom>
            <a:noFill/>
            <a:ln>
              <a:solidFill>
                <a:schemeClr val="bg2">
                  <a:lumMod val="75000"/>
                </a:schemeClr>
              </a:solidFill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55" name="Conector: Angulado 54">
              <a:extLst>
                <a:ext uri="{FF2B5EF4-FFF2-40B4-BE49-F238E27FC236}">
                  <a16:creationId xmlns:a16="http://schemas.microsoft.com/office/drawing/2014/main" id="{877BE474-FCBC-4436-B95A-0F678DB42D28}"/>
                </a:ext>
              </a:extLst>
            </p:cNvPr>
            <p:cNvCxnSpPr>
              <a:stCxn id="17" idx="3"/>
              <a:endCxn id="2050" idx="1"/>
            </p:cNvCxnSpPr>
            <p:nvPr/>
          </p:nvCxnSpPr>
          <p:spPr>
            <a:xfrm flipV="1">
              <a:off x="9913453" y="2117847"/>
              <a:ext cx="572553" cy="882455"/>
            </a:xfrm>
            <a:prstGeom prst="bentConnector3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Conector: Angulado 56">
              <a:extLst>
                <a:ext uri="{FF2B5EF4-FFF2-40B4-BE49-F238E27FC236}">
                  <a16:creationId xmlns:a16="http://schemas.microsoft.com/office/drawing/2014/main" id="{855FC902-E549-44E2-B6F6-97208523BE10}"/>
                </a:ext>
              </a:extLst>
            </p:cNvPr>
            <p:cNvCxnSpPr>
              <a:stCxn id="17" idx="3"/>
              <a:endCxn id="2052" idx="1"/>
            </p:cNvCxnSpPr>
            <p:nvPr/>
          </p:nvCxnSpPr>
          <p:spPr>
            <a:xfrm>
              <a:off x="9913453" y="3000302"/>
              <a:ext cx="540634" cy="613485"/>
            </a:xfrm>
            <a:prstGeom prst="bentConnector3">
              <a:avLst>
                <a:gd name="adj1" fmla="val 52867"/>
              </a:avLst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2058" name="Conector: Angulado 2057">
            <a:extLst>
              <a:ext uri="{FF2B5EF4-FFF2-40B4-BE49-F238E27FC236}">
                <a16:creationId xmlns:a16="http://schemas.microsoft.com/office/drawing/2014/main" id="{99C919BC-1798-4ECD-A306-3CDECFF41BB6}"/>
              </a:ext>
            </a:extLst>
          </p:cNvPr>
          <p:cNvCxnSpPr>
            <a:cxnSpLocks/>
            <a:stCxn id="12" idx="4"/>
            <a:endCxn id="16" idx="0"/>
          </p:cNvCxnSpPr>
          <p:nvPr/>
        </p:nvCxnSpPr>
        <p:spPr>
          <a:xfrm rot="16200000" flipH="1">
            <a:off x="1354493" y="1387135"/>
            <a:ext cx="514141" cy="1773437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Retângulo: Cantos Arredondados 29">
            <a:extLst>
              <a:ext uri="{FF2B5EF4-FFF2-40B4-BE49-F238E27FC236}">
                <a16:creationId xmlns:a16="http://schemas.microsoft.com/office/drawing/2014/main" id="{6891EDB9-617F-4668-B305-FC62DE7A9735}"/>
              </a:ext>
            </a:extLst>
          </p:cNvPr>
          <p:cNvSpPr/>
          <p:nvPr/>
        </p:nvSpPr>
        <p:spPr>
          <a:xfrm>
            <a:off x="5322481" y="695441"/>
            <a:ext cx="3187765" cy="1060829"/>
          </a:xfrm>
          <a:prstGeom prst="roundRect">
            <a:avLst>
              <a:gd name="adj" fmla="val 0"/>
            </a:avLst>
          </a:prstGeom>
          <a:solidFill>
            <a:schemeClr val="bg1">
              <a:lumMod val="65000"/>
              <a:alpha val="25000"/>
            </a:schemeClr>
          </a:solidFill>
          <a:ln>
            <a:solidFill>
              <a:schemeClr val="tx1">
                <a:lumMod val="85000"/>
                <a:lumOff val="1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pt-BR" dirty="0">
              <a:solidFill>
                <a:prstClr val="white"/>
              </a:solidFill>
              <a:latin typeface="Calibri" panose="020F0502020204030204"/>
            </a:endParaRPr>
          </a:p>
        </p:txBody>
      </p:sp>
      <p:grpSp>
        <p:nvGrpSpPr>
          <p:cNvPr id="24" name="Agrupar 23">
            <a:extLst>
              <a:ext uri="{FF2B5EF4-FFF2-40B4-BE49-F238E27FC236}">
                <a16:creationId xmlns:a16="http://schemas.microsoft.com/office/drawing/2014/main" id="{10BC70F6-23ED-4AD2-9C1E-9055D49B2B68}"/>
              </a:ext>
            </a:extLst>
          </p:cNvPr>
          <p:cNvGrpSpPr/>
          <p:nvPr/>
        </p:nvGrpSpPr>
        <p:grpSpPr>
          <a:xfrm>
            <a:off x="5429342" y="771644"/>
            <a:ext cx="1994432" cy="945288"/>
            <a:chOff x="3495673" y="2038349"/>
            <a:chExt cx="1653337" cy="1260383"/>
          </a:xfrm>
        </p:grpSpPr>
        <p:sp>
          <p:nvSpPr>
            <p:cNvPr id="25" name="CaixaDeTexto 24">
              <a:extLst>
                <a:ext uri="{FF2B5EF4-FFF2-40B4-BE49-F238E27FC236}">
                  <a16:creationId xmlns:a16="http://schemas.microsoft.com/office/drawing/2014/main" id="{B842229B-0135-490F-9B1B-26D061F92996}"/>
                </a:ext>
              </a:extLst>
            </p:cNvPr>
            <p:cNvSpPr txBox="1"/>
            <p:nvPr/>
          </p:nvSpPr>
          <p:spPr>
            <a:xfrm>
              <a:off x="3495674" y="2313847"/>
              <a:ext cx="1653336" cy="984885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65000"/>
                </a:schemeClr>
              </a:solidFill>
            </a:ln>
          </p:spPr>
          <p:txBody>
            <a:bodyPr wrap="square" rtlCol="0">
              <a:spAutoFit/>
            </a:bodyPr>
            <a:lstStyle/>
            <a:p>
              <a:pPr>
                <a:defRPr/>
              </a:pPr>
              <a:r>
                <a:rPr lang="pt-BR" sz="1050" dirty="0">
                  <a:solidFill>
                    <a:prstClr val="black"/>
                  </a:solidFill>
                  <a:latin typeface="Calibri" panose="020F0502020204030204"/>
                </a:rPr>
                <a:t>Métodos ágeis;</a:t>
              </a:r>
            </a:p>
            <a:p>
              <a:pPr>
                <a:defRPr/>
              </a:pPr>
              <a:r>
                <a:rPr lang="pt-BR" sz="1050" dirty="0">
                  <a:solidFill>
                    <a:prstClr val="black"/>
                  </a:solidFill>
                  <a:latin typeface="Calibri" panose="020F0502020204030204"/>
                </a:rPr>
                <a:t>Melhoria contínua;</a:t>
              </a:r>
            </a:p>
            <a:p>
              <a:pPr>
                <a:defRPr/>
              </a:pPr>
              <a:r>
                <a:rPr lang="pt-BR" sz="1050" dirty="0">
                  <a:solidFill>
                    <a:prstClr val="black"/>
                  </a:solidFill>
                  <a:latin typeface="Calibri" panose="020F0502020204030204"/>
                </a:rPr>
                <a:t>Colaboração com outras </a:t>
              </a:r>
              <a:r>
                <a:rPr lang="pt-BR" sz="1050" dirty="0" err="1">
                  <a:solidFill>
                    <a:prstClr val="black"/>
                  </a:solidFill>
                  <a:latin typeface="Calibri" panose="020F0502020204030204"/>
                </a:rPr>
                <a:t>squads</a:t>
              </a:r>
              <a:r>
                <a:rPr lang="pt-BR" sz="1050" dirty="0">
                  <a:solidFill>
                    <a:prstClr val="black"/>
                  </a:solidFill>
                  <a:latin typeface="Calibri" panose="020F0502020204030204"/>
                </a:rPr>
                <a:t>;</a:t>
              </a:r>
            </a:p>
            <a:p>
              <a:pPr>
                <a:defRPr/>
              </a:pPr>
              <a:r>
                <a:rPr lang="pt-BR" sz="1050" dirty="0">
                  <a:solidFill>
                    <a:prstClr val="black"/>
                  </a:solidFill>
                  <a:latin typeface="Calibri" panose="020F0502020204030204"/>
                </a:rPr>
                <a:t>Remoção de impedimentos</a:t>
              </a:r>
            </a:p>
          </p:txBody>
        </p:sp>
        <p:sp>
          <p:nvSpPr>
            <p:cNvPr id="26" name="Retângulo 25">
              <a:extLst>
                <a:ext uri="{FF2B5EF4-FFF2-40B4-BE49-F238E27FC236}">
                  <a16:creationId xmlns:a16="http://schemas.microsoft.com/office/drawing/2014/main" id="{7ECF0A34-777F-4EF1-AF0B-CE34D89EF723}"/>
                </a:ext>
              </a:extLst>
            </p:cNvPr>
            <p:cNvSpPr/>
            <p:nvPr/>
          </p:nvSpPr>
          <p:spPr>
            <a:xfrm>
              <a:off x="3495673" y="2038349"/>
              <a:ext cx="1653336" cy="275498"/>
            </a:xfrm>
            <a:prstGeom prst="rect">
              <a:avLst/>
            </a:prstGeom>
            <a:solidFill>
              <a:srgbClr val="000000">
                <a:lumMod val="65000"/>
                <a:lumOff val="35000"/>
              </a:srgbClr>
            </a:solidFill>
            <a:ln w="12700" cap="flat">
              <a:solidFill>
                <a:srgbClr val="D6D5D5">
                  <a:lumMod val="50000"/>
                </a:srgbClr>
              </a:solidFill>
              <a:miter lim="400000"/>
            </a:ln>
            <a:effectLst/>
            <a:sp3d/>
          </p:spPr>
          <p:txBody>
            <a:bodyPr rot="0" spcFirstLastPara="1" vertOverflow="overflow" horzOverflow="overflow" vert="horz" wrap="square" lIns="38100" tIns="38100" rIns="38100" bIns="38100" numCol="1" spcCol="38100" rtlCol="0" anchor="ctr">
              <a:noAutofit/>
            </a:bodyPr>
            <a:lstStyle/>
            <a:p>
              <a:pPr algn="ctr" defTabSz="438150" hangingPunct="0">
                <a:defRPr/>
              </a:pPr>
              <a:r>
                <a:rPr lang="pt-BR" sz="825" kern="0" dirty="0">
                  <a:solidFill>
                    <a:srgbClr val="FFFFFF"/>
                  </a:solidFill>
                  <a:latin typeface="Helvetica Neue Medium"/>
                  <a:sym typeface="Helvetica Neue Medium"/>
                </a:rPr>
                <a:t>PROCESSO</a:t>
              </a:r>
            </a:p>
          </p:txBody>
        </p:sp>
      </p:grpSp>
      <p:grpSp>
        <p:nvGrpSpPr>
          <p:cNvPr id="2064" name="Agrupar 2063">
            <a:extLst>
              <a:ext uri="{FF2B5EF4-FFF2-40B4-BE49-F238E27FC236}">
                <a16:creationId xmlns:a16="http://schemas.microsoft.com/office/drawing/2014/main" id="{89AAE597-F5A5-4771-961A-ACEEF422E509}"/>
              </a:ext>
            </a:extLst>
          </p:cNvPr>
          <p:cNvGrpSpPr/>
          <p:nvPr/>
        </p:nvGrpSpPr>
        <p:grpSpPr>
          <a:xfrm>
            <a:off x="7465973" y="874956"/>
            <a:ext cx="1027026" cy="1048036"/>
            <a:chOff x="5482724" y="5078409"/>
            <a:chExt cx="1362550" cy="1397380"/>
          </a:xfrm>
        </p:grpSpPr>
        <p:pic>
          <p:nvPicPr>
            <p:cNvPr id="28" name="Imagem" descr="Imagem">
              <a:extLst>
                <a:ext uri="{FF2B5EF4-FFF2-40B4-BE49-F238E27FC236}">
                  <a16:creationId xmlns:a16="http://schemas.microsoft.com/office/drawing/2014/main" id="{C98CFB2B-EEC9-47D6-96E4-0BE7EBA97642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90029" y="5078409"/>
              <a:ext cx="747949" cy="747950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  <p:sp>
          <p:nvSpPr>
            <p:cNvPr id="29" name="CaixaDeTexto 28">
              <a:extLst>
                <a:ext uri="{FF2B5EF4-FFF2-40B4-BE49-F238E27FC236}">
                  <a16:creationId xmlns:a16="http://schemas.microsoft.com/office/drawing/2014/main" id="{2784DA9E-73C5-4F43-B54F-9C010335DF1E}"/>
                </a:ext>
              </a:extLst>
            </p:cNvPr>
            <p:cNvSpPr txBox="1"/>
            <p:nvPr/>
          </p:nvSpPr>
          <p:spPr>
            <a:xfrm>
              <a:off x="5482724" y="5798681"/>
              <a:ext cx="1362550" cy="677108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ctr">
                <a:defRPr/>
              </a:pPr>
              <a:r>
                <a:rPr lang="pt-BR" dirty="0" err="1">
                  <a:solidFill>
                    <a:prstClr val="black"/>
                  </a:solidFill>
                  <a:latin typeface="Calibri" panose="020F0502020204030204"/>
                </a:rPr>
                <a:t>Agile</a:t>
              </a:r>
              <a:r>
                <a:rPr lang="pt-BR" dirty="0">
                  <a:solidFill>
                    <a:prstClr val="black"/>
                  </a:solidFill>
                  <a:latin typeface="Calibri" panose="020F0502020204030204"/>
                </a:rPr>
                <a:t> Master</a:t>
              </a:r>
            </a:p>
          </p:txBody>
        </p:sp>
      </p:grpSp>
      <p:sp>
        <p:nvSpPr>
          <p:cNvPr id="111" name="Retângulo: Cantos Arredondados 110">
            <a:extLst>
              <a:ext uri="{FF2B5EF4-FFF2-40B4-BE49-F238E27FC236}">
                <a16:creationId xmlns:a16="http://schemas.microsoft.com/office/drawing/2014/main" id="{146ACD08-6084-4287-BD02-B81216689B55}"/>
              </a:ext>
            </a:extLst>
          </p:cNvPr>
          <p:cNvSpPr/>
          <p:nvPr/>
        </p:nvSpPr>
        <p:spPr>
          <a:xfrm>
            <a:off x="5312956" y="1827082"/>
            <a:ext cx="3187765" cy="1006889"/>
          </a:xfrm>
          <a:prstGeom prst="roundRect">
            <a:avLst>
              <a:gd name="adj" fmla="val 0"/>
            </a:avLst>
          </a:prstGeom>
          <a:solidFill>
            <a:schemeClr val="bg1">
              <a:lumMod val="65000"/>
              <a:alpha val="25000"/>
            </a:schemeClr>
          </a:solidFill>
          <a:ln>
            <a:solidFill>
              <a:schemeClr val="tx1">
                <a:lumMod val="85000"/>
                <a:lumOff val="1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pt-BR" dirty="0">
              <a:solidFill>
                <a:prstClr val="white"/>
              </a:solidFill>
              <a:latin typeface="Calibri" panose="020F0502020204030204"/>
            </a:endParaRPr>
          </a:p>
        </p:txBody>
      </p:sp>
      <p:grpSp>
        <p:nvGrpSpPr>
          <p:cNvPr id="112" name="Agrupar 111">
            <a:extLst>
              <a:ext uri="{FF2B5EF4-FFF2-40B4-BE49-F238E27FC236}">
                <a16:creationId xmlns:a16="http://schemas.microsoft.com/office/drawing/2014/main" id="{6403B1C9-BA3D-4CBC-9C21-CD7481004D62}"/>
              </a:ext>
            </a:extLst>
          </p:cNvPr>
          <p:cNvGrpSpPr/>
          <p:nvPr/>
        </p:nvGrpSpPr>
        <p:grpSpPr>
          <a:xfrm>
            <a:off x="5419817" y="1942486"/>
            <a:ext cx="1994432" cy="783704"/>
            <a:chOff x="3495673" y="2038349"/>
            <a:chExt cx="1653337" cy="1044939"/>
          </a:xfrm>
        </p:grpSpPr>
        <p:sp>
          <p:nvSpPr>
            <p:cNvPr id="117" name="CaixaDeTexto 116">
              <a:extLst>
                <a:ext uri="{FF2B5EF4-FFF2-40B4-BE49-F238E27FC236}">
                  <a16:creationId xmlns:a16="http://schemas.microsoft.com/office/drawing/2014/main" id="{FA4E0C89-4749-409D-9FA9-3081FBC90FE9}"/>
                </a:ext>
              </a:extLst>
            </p:cNvPr>
            <p:cNvSpPr txBox="1"/>
            <p:nvPr/>
          </p:nvSpPr>
          <p:spPr>
            <a:xfrm>
              <a:off x="3495674" y="2313846"/>
              <a:ext cx="1653336" cy="769442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65000"/>
                </a:schemeClr>
              </a:solidFill>
            </a:ln>
          </p:spPr>
          <p:txBody>
            <a:bodyPr wrap="square" rtlCol="0">
              <a:spAutoFit/>
            </a:bodyPr>
            <a:lstStyle/>
            <a:p>
              <a:pPr>
                <a:defRPr/>
              </a:pPr>
              <a:r>
                <a:rPr lang="pt-BR" sz="1050" dirty="0">
                  <a:solidFill>
                    <a:prstClr val="black"/>
                  </a:solidFill>
                  <a:latin typeface="Calibri" panose="020F0502020204030204"/>
                </a:rPr>
                <a:t>Automação de teste;</a:t>
              </a:r>
            </a:p>
            <a:p>
              <a:pPr>
                <a:defRPr/>
              </a:pPr>
              <a:r>
                <a:rPr lang="pt-BR" sz="1050" dirty="0">
                  <a:solidFill>
                    <a:prstClr val="black"/>
                  </a:solidFill>
                  <a:latin typeface="Calibri" panose="020F0502020204030204"/>
                </a:rPr>
                <a:t>Garantia de qualidade;</a:t>
              </a:r>
            </a:p>
            <a:p>
              <a:pPr>
                <a:defRPr/>
              </a:pPr>
              <a:r>
                <a:rPr lang="pt-BR" sz="1050" dirty="0">
                  <a:solidFill>
                    <a:prstClr val="black"/>
                  </a:solidFill>
                  <a:latin typeface="Calibri" panose="020F0502020204030204"/>
                </a:rPr>
                <a:t>Indicadores de qualidade</a:t>
              </a:r>
            </a:p>
          </p:txBody>
        </p:sp>
        <p:sp>
          <p:nvSpPr>
            <p:cNvPr id="118" name="Retângulo 117">
              <a:extLst>
                <a:ext uri="{FF2B5EF4-FFF2-40B4-BE49-F238E27FC236}">
                  <a16:creationId xmlns:a16="http://schemas.microsoft.com/office/drawing/2014/main" id="{E2E7C314-48B4-4226-826C-55164117438D}"/>
                </a:ext>
              </a:extLst>
            </p:cNvPr>
            <p:cNvSpPr/>
            <p:nvPr/>
          </p:nvSpPr>
          <p:spPr>
            <a:xfrm>
              <a:off x="3495673" y="2038349"/>
              <a:ext cx="1653336" cy="275498"/>
            </a:xfrm>
            <a:prstGeom prst="rect">
              <a:avLst/>
            </a:prstGeom>
            <a:solidFill>
              <a:srgbClr val="000000">
                <a:lumMod val="65000"/>
                <a:lumOff val="35000"/>
              </a:srgbClr>
            </a:solidFill>
            <a:ln w="12700" cap="flat">
              <a:solidFill>
                <a:srgbClr val="D6D5D5">
                  <a:lumMod val="50000"/>
                </a:srgbClr>
              </a:solidFill>
              <a:miter lim="400000"/>
            </a:ln>
            <a:effectLst/>
            <a:sp3d/>
          </p:spPr>
          <p:txBody>
            <a:bodyPr rot="0" spcFirstLastPara="1" vertOverflow="overflow" horzOverflow="overflow" vert="horz" wrap="square" lIns="38100" tIns="38100" rIns="38100" bIns="38100" numCol="1" spcCol="38100" rtlCol="0" anchor="ctr">
              <a:noAutofit/>
            </a:bodyPr>
            <a:lstStyle/>
            <a:p>
              <a:pPr algn="ctr" defTabSz="438150" hangingPunct="0">
                <a:defRPr/>
              </a:pPr>
              <a:r>
                <a:rPr lang="pt-BR" sz="825" kern="0" dirty="0">
                  <a:solidFill>
                    <a:srgbClr val="FFFFFF"/>
                  </a:solidFill>
                  <a:latin typeface="Helvetica Neue Medium"/>
                  <a:sym typeface="Helvetica Neue Medium"/>
                </a:rPr>
                <a:t>QUALIDADE</a:t>
              </a:r>
            </a:p>
          </p:txBody>
        </p:sp>
      </p:grpSp>
      <p:sp>
        <p:nvSpPr>
          <p:cNvPr id="116" name="CaixaDeTexto 115">
            <a:extLst>
              <a:ext uri="{FF2B5EF4-FFF2-40B4-BE49-F238E27FC236}">
                <a16:creationId xmlns:a16="http://schemas.microsoft.com/office/drawing/2014/main" id="{F89A194B-9D78-46D4-879E-7F3C15E182DE}"/>
              </a:ext>
            </a:extLst>
          </p:cNvPr>
          <p:cNvSpPr txBox="1"/>
          <p:nvPr/>
        </p:nvSpPr>
        <p:spPr>
          <a:xfrm>
            <a:off x="7465973" y="2538160"/>
            <a:ext cx="1027026" cy="30008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pt-BR" dirty="0">
                <a:solidFill>
                  <a:prstClr val="black"/>
                </a:solidFill>
                <a:latin typeface="Calibri" panose="020F0502020204030204"/>
              </a:rPr>
              <a:t>QA</a:t>
            </a:r>
          </a:p>
        </p:txBody>
      </p:sp>
      <p:pic>
        <p:nvPicPr>
          <p:cNvPr id="119" name="Imagem 118">
            <a:extLst>
              <a:ext uri="{FF2B5EF4-FFF2-40B4-BE49-F238E27FC236}">
                <a16:creationId xmlns:a16="http://schemas.microsoft.com/office/drawing/2014/main" id="{9E0B3EB3-3364-4A6C-BB50-B1DB72F44644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biLevel thresh="75000"/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781" b="97266" l="3046" r="97462">
                        <a14:foregroundMark x1="45685" y1="8984" x2="63959" y2="17188"/>
                        <a14:foregroundMark x1="54822" y1="15234" x2="37056" y2="18750"/>
                        <a14:foregroundMark x1="37056" y1="18750" x2="52792" y2="14844"/>
                        <a14:foregroundMark x1="52792" y1="14844" x2="49746" y2="22656"/>
                        <a14:foregroundMark x1="49746" y1="22656" x2="44162" y2="14453"/>
                        <a14:foregroundMark x1="44162" y1="14453" x2="52792" y2="8594"/>
                        <a14:foregroundMark x1="52792" y1="8594" x2="68528" y2="7813"/>
                        <a14:foregroundMark x1="68528" y1="7813" x2="77665" y2="10156"/>
                        <a14:foregroundMark x1="77665" y1="10156" x2="72081" y2="19531"/>
                        <a14:foregroundMark x1="72081" y1="19531" x2="79695" y2="12891"/>
                        <a14:foregroundMark x1="79695" y1="12891" x2="86294" y2="21094"/>
                        <a14:foregroundMark x1="86294" y1="21094" x2="85279" y2="28516"/>
                        <a14:foregroundMark x1="85279" y1="28516" x2="90355" y2="35156"/>
                        <a14:foregroundMark x1="90355" y1="35156" x2="92893" y2="41406"/>
                        <a14:foregroundMark x1="4061" y1="25391" x2="4061" y2="25391"/>
                        <a14:foregroundMark x1="3046" y1="26172" x2="3046" y2="26172"/>
                        <a14:foregroundMark x1="18782" y1="16797" x2="26904" y2="12109"/>
                        <a14:foregroundMark x1="26904" y1="12109" x2="36041" y2="10156"/>
                        <a14:foregroundMark x1="36041" y1="10156" x2="21320" y2="15234"/>
                        <a14:foregroundMark x1="19289" y1="8203" x2="40102" y2="5859"/>
                        <a14:foregroundMark x1="40102" y1="5859" x2="49239" y2="3125"/>
                        <a14:foregroundMark x1="49239" y1="3125" x2="59391" y2="3125"/>
                        <a14:foregroundMark x1="59391" y1="3125" x2="74619" y2="3125"/>
                        <a14:foregroundMark x1="82338" y1="4688" x2="84264" y2="5078"/>
                        <a14:foregroundMark x1="80407" y1="4297" x2="82338" y2="4688"/>
                        <a14:foregroundMark x1="74619" y1="3125" x2="80407" y2="4297"/>
                        <a14:foregroundMark x1="84264" y1="5078" x2="84772" y2="7031"/>
                        <a14:foregroundMark x1="96447" y1="55469" x2="97462" y2="62500"/>
                        <a14:foregroundMark x1="97462" y1="62500" x2="86294" y2="75391"/>
                        <a14:foregroundMark x1="86294" y1="75391" x2="85787" y2="78125"/>
                        <a14:foregroundMark x1="4569" y1="56641" x2="4569" y2="63672"/>
                        <a14:foregroundMark x1="4569" y1="63672" x2="7614" y2="70703"/>
                        <a14:foregroundMark x1="7614" y1="70703" x2="13706" y2="74609"/>
                        <a14:foregroundMark x1="31472" y1="92969" x2="39086" y2="98438"/>
                        <a14:foregroundMark x1="39086" y1="98438" x2="58883" y2="97656"/>
                        <a14:foregroundMark x1="58883" y1="97656" x2="71066" y2="92969"/>
                        <a14:foregroundMark x1="46701" y1="78906" x2="63452" y2="79297"/>
                        <a14:foregroundMark x1="52797" y1="69531" x2="55838" y2="69141"/>
                        <a14:foregroundMark x1="49749" y1="69922" x2="52797" y2="69531"/>
                        <a14:foregroundMark x1="46701" y1="70313" x2="49749" y2="69922"/>
                        <a14:foregroundMark x1="55838" y1="69141" x2="56345" y2="64453"/>
                        <a14:foregroundMark x1="39594" y1="47266" x2="40102" y2="47266"/>
                        <a14:foregroundMark x1="74112" y1="46484" x2="74112" y2="46484"/>
                        <a14:foregroundMark x1="69543" y1="55078" x2="69543" y2="55078"/>
                        <a14:foregroundMark x1="35533" y1="55469" x2="35533" y2="55469"/>
                        <a14:foregroundMark x1="60406" y1="781" x2="60406" y2="781"/>
                        <a14:backgroundMark x1="83756" y1="4297" x2="83756" y2="4297"/>
                        <a14:backgroundMark x1="84772" y1="4688" x2="84772" y2="4688"/>
                        <a14:backgroundMark x1="50254" y1="69922" x2="50254" y2="69922"/>
                        <a14:backgroundMark x1="49239" y1="69922" x2="49239" y2="69922"/>
                        <a14:backgroundMark x1="51777" y1="69531" x2="51777" y2="69531"/>
                        <a14:backgroundMark x1="56853" y1="69922" x2="56853" y2="69922"/>
                        <a14:backgroundMark x1="48223" y1="69922" x2="48223" y2="69922"/>
                        <a14:backgroundMark x1="39594" y1="99219" x2="39594" y2="99219"/>
                        <a14:backgroundMark x1="38579" y1="98828" x2="38579" y2="98828"/>
                        <a14:backgroundMark x1="37563" y1="98438" x2="37563" y2="98438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04737" y="2090676"/>
            <a:ext cx="349497" cy="454169"/>
          </a:xfrm>
          <a:prstGeom prst="rect">
            <a:avLst/>
          </a:prstGeom>
        </p:spPr>
      </p:pic>
      <p:cxnSp>
        <p:nvCxnSpPr>
          <p:cNvPr id="2096" name="Conector: Angulado 2095">
            <a:extLst>
              <a:ext uri="{FF2B5EF4-FFF2-40B4-BE49-F238E27FC236}">
                <a16:creationId xmlns:a16="http://schemas.microsoft.com/office/drawing/2014/main" id="{FBF8FCBA-285D-47FC-970A-A58F8879ED9E}"/>
              </a:ext>
            </a:extLst>
          </p:cNvPr>
          <p:cNvCxnSpPr>
            <a:cxnSpLocks/>
            <a:stCxn id="12" idx="6"/>
            <a:endCxn id="111" idx="1"/>
          </p:cNvCxnSpPr>
          <p:nvPr/>
        </p:nvCxnSpPr>
        <p:spPr>
          <a:xfrm>
            <a:off x="1190625" y="1536250"/>
            <a:ext cx="4122331" cy="794276"/>
          </a:xfrm>
          <a:prstGeom prst="bentConnector3">
            <a:avLst>
              <a:gd name="adj1" fmla="val 9101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0" name="Retângulo: Cantos Arredondados 129">
            <a:extLst>
              <a:ext uri="{FF2B5EF4-FFF2-40B4-BE49-F238E27FC236}">
                <a16:creationId xmlns:a16="http://schemas.microsoft.com/office/drawing/2014/main" id="{B6167AC6-1C24-4772-8BB2-2AE94A554F85}"/>
              </a:ext>
            </a:extLst>
          </p:cNvPr>
          <p:cNvSpPr/>
          <p:nvPr/>
        </p:nvSpPr>
        <p:spPr>
          <a:xfrm>
            <a:off x="5312955" y="2921671"/>
            <a:ext cx="3187765" cy="1006889"/>
          </a:xfrm>
          <a:prstGeom prst="roundRect">
            <a:avLst>
              <a:gd name="adj" fmla="val 0"/>
            </a:avLst>
          </a:prstGeom>
          <a:solidFill>
            <a:schemeClr val="bg1">
              <a:lumMod val="65000"/>
              <a:alpha val="25000"/>
            </a:schemeClr>
          </a:solidFill>
          <a:ln>
            <a:solidFill>
              <a:schemeClr val="tx1">
                <a:lumMod val="85000"/>
                <a:lumOff val="1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pt-BR" dirty="0">
              <a:solidFill>
                <a:prstClr val="white"/>
              </a:solidFill>
              <a:latin typeface="Calibri" panose="020F0502020204030204"/>
            </a:endParaRPr>
          </a:p>
        </p:txBody>
      </p:sp>
      <p:grpSp>
        <p:nvGrpSpPr>
          <p:cNvPr id="131" name="Agrupar 130">
            <a:extLst>
              <a:ext uri="{FF2B5EF4-FFF2-40B4-BE49-F238E27FC236}">
                <a16:creationId xmlns:a16="http://schemas.microsoft.com/office/drawing/2014/main" id="{EFBF036B-D6D9-4174-BD7A-503B0429EB6D}"/>
              </a:ext>
            </a:extLst>
          </p:cNvPr>
          <p:cNvGrpSpPr/>
          <p:nvPr/>
        </p:nvGrpSpPr>
        <p:grpSpPr>
          <a:xfrm>
            <a:off x="5419816" y="3102016"/>
            <a:ext cx="1994538" cy="783432"/>
            <a:chOff x="3495673" y="2164363"/>
            <a:chExt cx="1653426" cy="1044576"/>
          </a:xfrm>
        </p:grpSpPr>
        <p:sp>
          <p:nvSpPr>
            <p:cNvPr id="134" name="CaixaDeTexto 133">
              <a:extLst>
                <a:ext uri="{FF2B5EF4-FFF2-40B4-BE49-F238E27FC236}">
                  <a16:creationId xmlns:a16="http://schemas.microsoft.com/office/drawing/2014/main" id="{9AFC9A75-5334-4741-9606-33DAB358892B}"/>
                </a:ext>
              </a:extLst>
            </p:cNvPr>
            <p:cNvSpPr txBox="1"/>
            <p:nvPr/>
          </p:nvSpPr>
          <p:spPr>
            <a:xfrm>
              <a:off x="3495673" y="2439498"/>
              <a:ext cx="1653336" cy="769441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65000"/>
                </a:schemeClr>
              </a:solidFill>
            </a:ln>
          </p:spPr>
          <p:txBody>
            <a:bodyPr wrap="square" rtlCol="0">
              <a:spAutoFit/>
            </a:bodyPr>
            <a:lstStyle/>
            <a:p>
              <a:pPr>
                <a:defRPr/>
              </a:pPr>
              <a:r>
                <a:rPr lang="pt-BR" sz="1050" dirty="0">
                  <a:solidFill>
                    <a:prstClr val="black"/>
                  </a:solidFill>
                  <a:latin typeface="Calibri" panose="020F0502020204030204"/>
                </a:rPr>
                <a:t>Entregar a melhor experiência aos clientes e usuários do produto.</a:t>
              </a:r>
            </a:p>
          </p:txBody>
        </p:sp>
        <p:sp>
          <p:nvSpPr>
            <p:cNvPr id="135" name="Retângulo 134">
              <a:extLst>
                <a:ext uri="{FF2B5EF4-FFF2-40B4-BE49-F238E27FC236}">
                  <a16:creationId xmlns:a16="http://schemas.microsoft.com/office/drawing/2014/main" id="{11C1F082-C035-4A30-9B13-8ACC36EE66D9}"/>
                </a:ext>
              </a:extLst>
            </p:cNvPr>
            <p:cNvSpPr/>
            <p:nvPr/>
          </p:nvSpPr>
          <p:spPr>
            <a:xfrm>
              <a:off x="3495763" y="2164363"/>
              <a:ext cx="1653336" cy="275498"/>
            </a:xfrm>
            <a:prstGeom prst="rect">
              <a:avLst/>
            </a:prstGeom>
            <a:solidFill>
              <a:srgbClr val="000000">
                <a:lumMod val="65000"/>
                <a:lumOff val="35000"/>
              </a:srgbClr>
            </a:solidFill>
            <a:ln w="12700" cap="flat">
              <a:solidFill>
                <a:srgbClr val="D6D5D5">
                  <a:lumMod val="50000"/>
                </a:srgbClr>
              </a:solidFill>
              <a:miter lim="400000"/>
            </a:ln>
            <a:effectLst/>
            <a:sp3d/>
          </p:spPr>
          <p:txBody>
            <a:bodyPr rot="0" spcFirstLastPara="1" vertOverflow="overflow" horzOverflow="overflow" vert="horz" wrap="square" lIns="38100" tIns="38100" rIns="38100" bIns="38100" numCol="1" spcCol="38100" rtlCol="0" anchor="ctr">
              <a:noAutofit/>
            </a:bodyPr>
            <a:lstStyle/>
            <a:p>
              <a:pPr algn="ctr" defTabSz="438150" hangingPunct="0">
                <a:defRPr/>
              </a:pPr>
              <a:r>
                <a:rPr lang="pt-BR" sz="825" kern="0" dirty="0">
                  <a:solidFill>
                    <a:srgbClr val="FFFFFF"/>
                  </a:solidFill>
                  <a:latin typeface="Helvetica Neue Medium"/>
                  <a:sym typeface="Helvetica Neue Medium"/>
                </a:rPr>
                <a:t>CLIENTE / USUÁRIO</a:t>
              </a:r>
            </a:p>
          </p:txBody>
        </p:sp>
      </p:grpSp>
      <p:sp>
        <p:nvSpPr>
          <p:cNvPr id="132" name="CaixaDeTexto 131">
            <a:extLst>
              <a:ext uri="{FF2B5EF4-FFF2-40B4-BE49-F238E27FC236}">
                <a16:creationId xmlns:a16="http://schemas.microsoft.com/office/drawing/2014/main" id="{DAA19C96-61F2-4B27-BADF-FF873FC97806}"/>
              </a:ext>
            </a:extLst>
          </p:cNvPr>
          <p:cNvSpPr txBox="1"/>
          <p:nvPr/>
        </p:nvSpPr>
        <p:spPr>
          <a:xfrm>
            <a:off x="7470735" y="3644492"/>
            <a:ext cx="1017501" cy="415498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pt-BR" sz="1050" dirty="0" err="1">
                <a:solidFill>
                  <a:prstClr val="black"/>
                </a:solidFill>
                <a:latin typeface="Calibri" panose="020F0502020204030204"/>
              </a:rPr>
              <a:t>User</a:t>
            </a:r>
            <a:r>
              <a:rPr lang="pt-BR" sz="1050" dirty="0">
                <a:solidFill>
                  <a:prstClr val="black"/>
                </a:solidFill>
                <a:latin typeface="Calibri" panose="020F0502020204030204"/>
              </a:rPr>
              <a:t> Experience</a:t>
            </a:r>
          </a:p>
        </p:txBody>
      </p:sp>
      <p:cxnSp>
        <p:nvCxnSpPr>
          <p:cNvPr id="65" name="Conector: Angulado 64">
            <a:extLst>
              <a:ext uri="{FF2B5EF4-FFF2-40B4-BE49-F238E27FC236}">
                <a16:creationId xmlns:a16="http://schemas.microsoft.com/office/drawing/2014/main" id="{5AFE4A88-7967-44EB-8532-B4A28D1B8B32}"/>
              </a:ext>
            </a:extLst>
          </p:cNvPr>
          <p:cNvCxnSpPr>
            <a:cxnSpLocks/>
            <a:stCxn id="12" idx="6"/>
            <a:endCxn id="130" idx="1"/>
          </p:cNvCxnSpPr>
          <p:nvPr/>
        </p:nvCxnSpPr>
        <p:spPr>
          <a:xfrm>
            <a:off x="1190625" y="1536250"/>
            <a:ext cx="4122330" cy="1888865"/>
          </a:xfrm>
          <a:prstGeom prst="bentConnector3">
            <a:avLst>
              <a:gd name="adj1" fmla="val 90897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2" name="Retângulo: Cantos Arredondados 161">
            <a:extLst>
              <a:ext uri="{FF2B5EF4-FFF2-40B4-BE49-F238E27FC236}">
                <a16:creationId xmlns:a16="http://schemas.microsoft.com/office/drawing/2014/main" id="{4A6F13F9-9D4D-4611-880C-21B3A79050B4}"/>
              </a:ext>
            </a:extLst>
          </p:cNvPr>
          <p:cNvSpPr/>
          <p:nvPr/>
        </p:nvSpPr>
        <p:spPr>
          <a:xfrm>
            <a:off x="5300472" y="3998871"/>
            <a:ext cx="3187765" cy="1006889"/>
          </a:xfrm>
          <a:prstGeom prst="roundRect">
            <a:avLst>
              <a:gd name="adj" fmla="val 0"/>
            </a:avLst>
          </a:prstGeom>
          <a:solidFill>
            <a:schemeClr val="bg1">
              <a:lumMod val="65000"/>
              <a:alpha val="25000"/>
            </a:schemeClr>
          </a:solidFill>
          <a:ln>
            <a:solidFill>
              <a:schemeClr val="tx1">
                <a:lumMod val="85000"/>
                <a:lumOff val="1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pt-BR" dirty="0">
              <a:solidFill>
                <a:prstClr val="white"/>
              </a:solidFill>
              <a:latin typeface="Calibri" panose="020F0502020204030204"/>
            </a:endParaRPr>
          </a:p>
        </p:txBody>
      </p:sp>
      <p:grpSp>
        <p:nvGrpSpPr>
          <p:cNvPr id="163" name="Agrupar 162">
            <a:extLst>
              <a:ext uri="{FF2B5EF4-FFF2-40B4-BE49-F238E27FC236}">
                <a16:creationId xmlns:a16="http://schemas.microsoft.com/office/drawing/2014/main" id="{2C51307A-704D-4105-8525-BBBDAFB9F7D9}"/>
              </a:ext>
            </a:extLst>
          </p:cNvPr>
          <p:cNvGrpSpPr/>
          <p:nvPr/>
        </p:nvGrpSpPr>
        <p:grpSpPr>
          <a:xfrm>
            <a:off x="5407332" y="4189735"/>
            <a:ext cx="1994538" cy="609206"/>
            <a:chOff x="3495673" y="2164363"/>
            <a:chExt cx="1653426" cy="812274"/>
          </a:xfrm>
        </p:grpSpPr>
        <p:sp>
          <p:nvSpPr>
            <p:cNvPr id="166" name="CaixaDeTexto 165">
              <a:extLst>
                <a:ext uri="{FF2B5EF4-FFF2-40B4-BE49-F238E27FC236}">
                  <a16:creationId xmlns:a16="http://schemas.microsoft.com/office/drawing/2014/main" id="{1AF66C56-00CF-4838-A306-66CC503FF8FC}"/>
                </a:ext>
              </a:extLst>
            </p:cNvPr>
            <p:cNvSpPr txBox="1"/>
            <p:nvPr/>
          </p:nvSpPr>
          <p:spPr>
            <a:xfrm>
              <a:off x="3495673" y="2439498"/>
              <a:ext cx="1653336" cy="53713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65000"/>
                </a:schemeClr>
              </a:solidFill>
            </a:ln>
          </p:spPr>
          <p:txBody>
            <a:bodyPr wrap="square" rtlCol="0">
              <a:noAutofit/>
            </a:bodyPr>
            <a:lstStyle/>
            <a:p>
              <a:pPr>
                <a:defRPr/>
              </a:pPr>
              <a:r>
                <a:rPr lang="pt-BR" sz="1050" dirty="0">
                  <a:solidFill>
                    <a:prstClr val="black"/>
                  </a:solidFill>
                  <a:latin typeface="Calibri" panose="020F0502020204030204"/>
                </a:rPr>
                <a:t>Construir a solução técnica ideal.</a:t>
              </a:r>
            </a:p>
          </p:txBody>
        </p:sp>
        <p:sp>
          <p:nvSpPr>
            <p:cNvPr id="167" name="Retângulo 166">
              <a:extLst>
                <a:ext uri="{FF2B5EF4-FFF2-40B4-BE49-F238E27FC236}">
                  <a16:creationId xmlns:a16="http://schemas.microsoft.com/office/drawing/2014/main" id="{F0BB50D0-2734-4738-BD56-EE82CB387F31}"/>
                </a:ext>
              </a:extLst>
            </p:cNvPr>
            <p:cNvSpPr/>
            <p:nvPr/>
          </p:nvSpPr>
          <p:spPr>
            <a:xfrm>
              <a:off x="3495763" y="2164363"/>
              <a:ext cx="1653336" cy="275498"/>
            </a:xfrm>
            <a:prstGeom prst="rect">
              <a:avLst/>
            </a:prstGeom>
            <a:solidFill>
              <a:srgbClr val="000000">
                <a:lumMod val="65000"/>
                <a:lumOff val="35000"/>
              </a:srgbClr>
            </a:solidFill>
            <a:ln w="12700" cap="flat">
              <a:solidFill>
                <a:srgbClr val="D6D5D5">
                  <a:lumMod val="50000"/>
                </a:srgbClr>
              </a:solidFill>
              <a:miter lim="400000"/>
            </a:ln>
            <a:effectLst/>
            <a:sp3d/>
          </p:spPr>
          <p:txBody>
            <a:bodyPr rot="0" spcFirstLastPara="1" vertOverflow="overflow" horzOverflow="overflow" vert="horz" wrap="square" lIns="38100" tIns="38100" rIns="38100" bIns="38100" numCol="1" spcCol="38100" rtlCol="0" anchor="ctr">
              <a:noAutofit/>
            </a:bodyPr>
            <a:lstStyle/>
            <a:p>
              <a:pPr algn="ctr" defTabSz="438150" hangingPunct="0">
                <a:defRPr/>
              </a:pPr>
              <a:r>
                <a:rPr lang="pt-BR" sz="825" kern="0" dirty="0">
                  <a:solidFill>
                    <a:srgbClr val="FFFFFF"/>
                  </a:solidFill>
                  <a:latin typeface="Helvetica Neue Medium"/>
                  <a:sym typeface="Helvetica Neue Medium"/>
                </a:rPr>
                <a:t>TECNOLOGIA</a:t>
              </a:r>
            </a:p>
          </p:txBody>
        </p:sp>
      </p:grpSp>
      <p:sp>
        <p:nvSpPr>
          <p:cNvPr id="164" name="CaixaDeTexto 163">
            <a:extLst>
              <a:ext uri="{FF2B5EF4-FFF2-40B4-BE49-F238E27FC236}">
                <a16:creationId xmlns:a16="http://schemas.microsoft.com/office/drawing/2014/main" id="{E3C4A55B-A28E-46A1-9ED9-217FD2B6248C}"/>
              </a:ext>
            </a:extLst>
          </p:cNvPr>
          <p:cNvSpPr txBox="1"/>
          <p:nvPr/>
        </p:nvSpPr>
        <p:spPr>
          <a:xfrm>
            <a:off x="7470735" y="4732211"/>
            <a:ext cx="1017501" cy="253916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pt-BR" sz="1050" dirty="0">
                <a:solidFill>
                  <a:prstClr val="black"/>
                </a:solidFill>
                <a:latin typeface="Calibri" panose="020F0502020204030204"/>
              </a:rPr>
              <a:t>Desenvolvedor</a:t>
            </a:r>
          </a:p>
        </p:txBody>
      </p:sp>
      <p:pic>
        <p:nvPicPr>
          <p:cNvPr id="168" name="Imagem" descr="Imagem">
            <a:hlinkClick r:id="" action="ppaction://noaction"/>
            <a:extLst>
              <a:ext uri="{FF2B5EF4-FFF2-40B4-BE49-F238E27FC236}">
                <a16:creationId xmlns:a16="http://schemas.microsoft.com/office/drawing/2014/main" id="{9D921677-EE47-493F-94F2-D68CB746F918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711745" y="4220859"/>
            <a:ext cx="535482" cy="505374"/>
          </a:xfrm>
          <a:prstGeom prst="rect">
            <a:avLst/>
          </a:prstGeom>
          <a:ln w="12700" cap="flat">
            <a:noFill/>
            <a:miter lim="400000"/>
          </a:ln>
          <a:effectLst/>
        </p:spPr>
      </p:pic>
      <p:cxnSp>
        <p:nvCxnSpPr>
          <p:cNvPr id="85" name="Conector: Angulado 84">
            <a:extLst>
              <a:ext uri="{FF2B5EF4-FFF2-40B4-BE49-F238E27FC236}">
                <a16:creationId xmlns:a16="http://schemas.microsoft.com/office/drawing/2014/main" id="{6A07E41F-6A25-4B71-8AC1-A9B3CE1E0831}"/>
              </a:ext>
            </a:extLst>
          </p:cNvPr>
          <p:cNvCxnSpPr>
            <a:cxnSpLocks/>
            <a:stCxn id="12" idx="6"/>
            <a:endCxn id="30" idx="1"/>
          </p:cNvCxnSpPr>
          <p:nvPr/>
        </p:nvCxnSpPr>
        <p:spPr>
          <a:xfrm flipV="1">
            <a:off x="1190625" y="1225856"/>
            <a:ext cx="4131856" cy="310395"/>
          </a:xfrm>
          <a:prstGeom prst="bentConnector3">
            <a:avLst>
              <a:gd name="adj1" fmla="val 90723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0" name="Imagem" descr="Imagem">
            <a:hlinkClick r:id="" action="ppaction://noaction"/>
            <a:extLst>
              <a:ext uri="{FF2B5EF4-FFF2-40B4-BE49-F238E27FC236}">
                <a16:creationId xmlns:a16="http://schemas.microsoft.com/office/drawing/2014/main" id="{D78AE07A-39FE-4F50-816F-F585D77FE7F3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688615" y="3142651"/>
            <a:ext cx="581741" cy="543890"/>
          </a:xfrm>
          <a:prstGeom prst="rect">
            <a:avLst/>
          </a:prstGeom>
          <a:ln w="12700" cap="flat">
            <a:noFill/>
            <a:miter lim="400000"/>
          </a:ln>
          <a:effectLst/>
        </p:spPr>
      </p:pic>
      <p:cxnSp>
        <p:nvCxnSpPr>
          <p:cNvPr id="107" name="Conector: Angulado 106">
            <a:extLst>
              <a:ext uri="{FF2B5EF4-FFF2-40B4-BE49-F238E27FC236}">
                <a16:creationId xmlns:a16="http://schemas.microsoft.com/office/drawing/2014/main" id="{0036BBA9-4AFD-4829-B85E-6873954B1210}"/>
              </a:ext>
            </a:extLst>
          </p:cNvPr>
          <p:cNvCxnSpPr>
            <a:stCxn id="12" idx="6"/>
            <a:endCxn id="162" idx="1"/>
          </p:cNvCxnSpPr>
          <p:nvPr/>
        </p:nvCxnSpPr>
        <p:spPr>
          <a:xfrm>
            <a:off x="1190626" y="1536251"/>
            <a:ext cx="4109846" cy="2966065"/>
          </a:xfrm>
          <a:prstGeom prst="bentConnector3">
            <a:avLst>
              <a:gd name="adj1" fmla="val 91329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577479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exto 1">
            <a:extLst>
              <a:ext uri="{FF2B5EF4-FFF2-40B4-BE49-F238E27FC236}">
                <a16:creationId xmlns:a16="http://schemas.microsoft.com/office/drawing/2014/main" id="{F5241265-16BD-472C-8DC1-57AA4FE901A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4203" y="575841"/>
            <a:ext cx="7953374" cy="560963"/>
          </a:xfrm>
          <a:ln>
            <a:noFill/>
          </a:ln>
        </p:spPr>
        <p:txBody>
          <a:bodyPr/>
          <a:lstStyle/>
          <a:p>
            <a:r>
              <a:rPr lang="pt-BR" dirty="0" err="1"/>
              <a:t>Product</a:t>
            </a:r>
            <a:r>
              <a:rPr lang="pt-BR" dirty="0"/>
              <a:t> </a:t>
            </a:r>
            <a:r>
              <a:rPr lang="pt-BR" dirty="0" err="1">
                <a:solidFill>
                  <a:srgbClr val="FF0000"/>
                </a:solidFill>
              </a:rPr>
              <a:t>leader</a:t>
            </a:r>
            <a:endParaRPr lang="pt-BR" dirty="0">
              <a:solidFill>
                <a:srgbClr val="FF0000"/>
              </a:solidFill>
            </a:endParaRPr>
          </a:p>
          <a:p>
            <a:r>
              <a:rPr lang="pt-BR" sz="1200" dirty="0"/>
              <a:t>Um “PL” pode estar envolvido em mais de uma cadeias de valor.</a:t>
            </a:r>
          </a:p>
        </p:txBody>
      </p:sp>
      <p:sp>
        <p:nvSpPr>
          <p:cNvPr id="4" name="Texto Explicativo: Linha 3">
            <a:extLst>
              <a:ext uri="{FF2B5EF4-FFF2-40B4-BE49-F238E27FC236}">
                <a16:creationId xmlns:a16="http://schemas.microsoft.com/office/drawing/2014/main" id="{60593E82-7F9B-4D9B-AE32-EBFD2F6F71A5}"/>
              </a:ext>
            </a:extLst>
          </p:cNvPr>
          <p:cNvSpPr/>
          <p:nvPr/>
        </p:nvSpPr>
        <p:spPr>
          <a:xfrm>
            <a:off x="4939303" y="1922485"/>
            <a:ext cx="3598274" cy="1283882"/>
          </a:xfrm>
          <a:prstGeom prst="borderCallout1">
            <a:avLst>
              <a:gd name="adj1" fmla="val 48564"/>
              <a:gd name="adj2" fmla="val -4501"/>
              <a:gd name="adj3" fmla="val 49860"/>
              <a:gd name="adj4" fmla="val -97115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14313" indent="-214313">
              <a:buFont typeface="Wingdings" panose="05000000000000000000" pitchFamily="2" charset="2"/>
              <a:buChar char="§"/>
              <a:defRPr/>
            </a:pPr>
            <a:r>
              <a:rPr lang="pt-BR" sz="1050" dirty="0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/>
              </a:rPr>
              <a:t>Ponte com a área de negócios;</a:t>
            </a:r>
          </a:p>
          <a:p>
            <a:pPr marL="214313" indent="-214313">
              <a:buFont typeface="Wingdings" panose="05000000000000000000" pitchFamily="2" charset="2"/>
              <a:buChar char="§"/>
              <a:defRPr/>
            </a:pPr>
            <a:r>
              <a:rPr lang="pt-BR" sz="1050" dirty="0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/>
              </a:rPr>
              <a:t>Define visão e estratégia de negócio para </a:t>
            </a:r>
            <a:r>
              <a:rPr lang="pt-BR" sz="1050" dirty="0" err="1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/>
              </a:rPr>
              <a:t>POs</a:t>
            </a:r>
            <a:r>
              <a:rPr lang="pt-BR" sz="1050" dirty="0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/>
              </a:rPr>
              <a:t>;</a:t>
            </a:r>
          </a:p>
          <a:p>
            <a:pPr marL="214313" indent="-214313">
              <a:buFont typeface="Wingdings" panose="05000000000000000000" pitchFamily="2" charset="2"/>
              <a:buChar char="§"/>
              <a:defRPr/>
            </a:pPr>
            <a:r>
              <a:rPr lang="pt-BR" sz="1050" dirty="0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/>
              </a:rPr>
              <a:t>Efetua pesquisas com cliente e mercado;</a:t>
            </a:r>
          </a:p>
        </p:txBody>
      </p:sp>
      <p:sp>
        <p:nvSpPr>
          <p:cNvPr id="5" name="CaixaDeTexto 4">
            <a:extLst>
              <a:ext uri="{FF2B5EF4-FFF2-40B4-BE49-F238E27FC236}">
                <a16:creationId xmlns:a16="http://schemas.microsoft.com/office/drawing/2014/main" id="{FBB4BDFD-2305-4E8F-BA80-B8B1B08DB063}"/>
              </a:ext>
            </a:extLst>
          </p:cNvPr>
          <p:cNvSpPr txBox="1"/>
          <p:nvPr/>
        </p:nvSpPr>
        <p:spPr>
          <a:xfrm flipH="1">
            <a:off x="1392811" y="2588782"/>
            <a:ext cx="3312329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pt-BR" sz="1050" dirty="0">
                <a:solidFill>
                  <a:prstClr val="white">
                    <a:lumMod val="50000"/>
                  </a:prstClr>
                </a:solidFill>
                <a:latin typeface="Calibri" panose="020F0502020204030204"/>
              </a:rPr>
              <a:t>Busca as aprovações e orçamentos para o desenvolvimento de um produto</a:t>
            </a:r>
          </a:p>
        </p:txBody>
      </p:sp>
      <p:sp>
        <p:nvSpPr>
          <p:cNvPr id="6" name="Retângulo 5">
            <a:extLst>
              <a:ext uri="{FF2B5EF4-FFF2-40B4-BE49-F238E27FC236}">
                <a16:creationId xmlns:a16="http://schemas.microsoft.com/office/drawing/2014/main" id="{7092F343-6F4F-4C69-9E6A-79CDE8F9B8F7}"/>
              </a:ext>
            </a:extLst>
          </p:cNvPr>
          <p:cNvSpPr/>
          <p:nvPr/>
        </p:nvSpPr>
        <p:spPr>
          <a:xfrm>
            <a:off x="1392811" y="1970110"/>
            <a:ext cx="3314984" cy="5770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pt-BR" sz="1050" dirty="0">
                <a:solidFill>
                  <a:prstClr val="white">
                    <a:lumMod val="50000"/>
                  </a:prstClr>
                </a:solidFill>
                <a:latin typeface="Calibri" panose="020F0502020204030204"/>
              </a:rPr>
              <a:t>Responsável por fazer a conexão com a área de negócios da empresa e transformar em um plano estratégico para o produto.</a:t>
            </a:r>
          </a:p>
        </p:txBody>
      </p:sp>
      <p:pic>
        <p:nvPicPr>
          <p:cNvPr id="8" name="Imagem" descr="Imagem">
            <a:extLst>
              <a:ext uri="{FF2B5EF4-FFF2-40B4-BE49-F238E27FC236}">
                <a16:creationId xmlns:a16="http://schemas.microsoft.com/office/drawing/2014/main" id="{7693F21E-EAEE-4609-896B-39506F61B655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7536" y="1955260"/>
            <a:ext cx="563769" cy="560963"/>
          </a:xfrm>
          <a:prstGeom prst="rect">
            <a:avLst/>
          </a:prstGeom>
          <a:ln w="12700" cap="flat">
            <a:noFill/>
            <a:miter lim="400000"/>
          </a:ln>
          <a:effectLst/>
        </p:spPr>
      </p:pic>
      <p:sp>
        <p:nvSpPr>
          <p:cNvPr id="9" name="CaixaDeTexto 8">
            <a:extLst>
              <a:ext uri="{FF2B5EF4-FFF2-40B4-BE49-F238E27FC236}">
                <a16:creationId xmlns:a16="http://schemas.microsoft.com/office/drawing/2014/main" id="{3574C8B5-8A6D-4D05-97EC-22F153121E45}"/>
              </a:ext>
            </a:extLst>
          </p:cNvPr>
          <p:cNvSpPr txBox="1"/>
          <p:nvPr/>
        </p:nvSpPr>
        <p:spPr>
          <a:xfrm>
            <a:off x="365904" y="2495465"/>
            <a:ext cx="1027026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pt-BR" sz="1200" dirty="0" err="1">
                <a:solidFill>
                  <a:prstClr val="black"/>
                </a:solidFill>
                <a:latin typeface="Calibri" panose="020F0502020204030204"/>
              </a:rPr>
              <a:t>Product</a:t>
            </a:r>
            <a:r>
              <a:rPr lang="pt-BR" sz="12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pt-BR" sz="1200" dirty="0" err="1">
                <a:solidFill>
                  <a:prstClr val="black"/>
                </a:solidFill>
                <a:latin typeface="Calibri" panose="020F0502020204030204"/>
              </a:rPr>
              <a:t>Leader</a:t>
            </a:r>
            <a:endParaRPr lang="pt-BR" sz="1200" dirty="0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33903791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exto 1">
            <a:extLst>
              <a:ext uri="{FF2B5EF4-FFF2-40B4-BE49-F238E27FC236}">
                <a16:creationId xmlns:a16="http://schemas.microsoft.com/office/drawing/2014/main" id="{27805F21-9E2A-4FAA-B4C6-6D53C1B05D6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pt-BR" dirty="0"/>
              <a:t>Benefícios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336AB7BB-FA7E-445F-A9AC-05D12AEEE49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t-BR" dirty="0"/>
              <a:t>O modelo proposto de times ágeis (</a:t>
            </a:r>
            <a:r>
              <a:rPr lang="pt-BR" dirty="0" err="1"/>
              <a:t>Squads</a:t>
            </a:r>
            <a:r>
              <a:rPr lang="pt-BR" dirty="0"/>
              <a:t>) promove alguns benefícios como os descritos a seguir.</a:t>
            </a:r>
          </a:p>
        </p:txBody>
      </p:sp>
      <p:sp>
        <p:nvSpPr>
          <p:cNvPr id="4" name="CaixaDeTexto 3">
            <a:extLst>
              <a:ext uri="{FF2B5EF4-FFF2-40B4-BE49-F238E27FC236}">
                <a16:creationId xmlns:a16="http://schemas.microsoft.com/office/drawing/2014/main" id="{12781BEB-E6C3-41AC-9CD0-037A56286E0D}"/>
              </a:ext>
            </a:extLst>
          </p:cNvPr>
          <p:cNvSpPr txBox="1"/>
          <p:nvPr/>
        </p:nvSpPr>
        <p:spPr>
          <a:xfrm>
            <a:off x="133333" y="1946303"/>
            <a:ext cx="1123681" cy="42704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pt-BR" dirty="0">
                <a:solidFill>
                  <a:prstClr val="black"/>
                </a:solidFill>
                <a:latin typeface="Calibri" panose="020F0502020204030204"/>
              </a:rPr>
              <a:t>PO</a:t>
            </a:r>
          </a:p>
          <a:p>
            <a:pPr algn="ctr">
              <a:defRPr/>
            </a:pPr>
            <a:r>
              <a:rPr lang="pt-BR" sz="825" dirty="0">
                <a:solidFill>
                  <a:prstClr val="black"/>
                </a:solidFill>
                <a:latin typeface="Calibri" panose="020F0502020204030204"/>
              </a:rPr>
              <a:t>(</a:t>
            </a:r>
            <a:r>
              <a:rPr lang="pt-BR" sz="825" dirty="0" err="1">
                <a:solidFill>
                  <a:prstClr val="black"/>
                </a:solidFill>
                <a:latin typeface="Calibri" panose="020F0502020204030204"/>
              </a:rPr>
              <a:t>Product</a:t>
            </a:r>
            <a:r>
              <a:rPr lang="pt-BR" sz="825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pt-BR" sz="825" dirty="0" err="1">
                <a:solidFill>
                  <a:prstClr val="black"/>
                </a:solidFill>
                <a:latin typeface="Calibri" panose="020F0502020204030204"/>
              </a:rPr>
              <a:t>Owner</a:t>
            </a:r>
            <a:r>
              <a:rPr lang="pt-BR" sz="825" dirty="0">
                <a:solidFill>
                  <a:prstClr val="black"/>
                </a:solidFill>
                <a:latin typeface="Calibri" panose="020F0502020204030204"/>
              </a:rPr>
              <a:t>)</a:t>
            </a:r>
          </a:p>
        </p:txBody>
      </p:sp>
      <p:pic>
        <p:nvPicPr>
          <p:cNvPr id="5" name="Imagem 4">
            <a:extLst>
              <a:ext uri="{FF2B5EF4-FFF2-40B4-BE49-F238E27FC236}">
                <a16:creationId xmlns:a16="http://schemas.microsoft.com/office/drawing/2014/main" id="{DC7ABE79-DBBF-4D82-975F-57DD214D6F05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biLevel thresh="7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781" b="97266" l="3046" r="97462">
                        <a14:foregroundMark x1="45685" y1="8984" x2="63959" y2="17188"/>
                        <a14:foregroundMark x1="54822" y1="15234" x2="37056" y2="18750"/>
                        <a14:foregroundMark x1="37056" y1="18750" x2="52792" y2="14844"/>
                        <a14:foregroundMark x1="52792" y1="14844" x2="49746" y2="22656"/>
                        <a14:foregroundMark x1="49746" y1="22656" x2="44162" y2="14453"/>
                        <a14:foregroundMark x1="44162" y1="14453" x2="52792" y2="8594"/>
                        <a14:foregroundMark x1="52792" y1="8594" x2="68528" y2="7813"/>
                        <a14:foregroundMark x1="68528" y1="7813" x2="77665" y2="10156"/>
                        <a14:foregroundMark x1="77665" y1="10156" x2="72081" y2="19531"/>
                        <a14:foregroundMark x1="72081" y1="19531" x2="79695" y2="12891"/>
                        <a14:foregroundMark x1="79695" y1="12891" x2="86294" y2="21094"/>
                        <a14:foregroundMark x1="86294" y1="21094" x2="85279" y2="28516"/>
                        <a14:foregroundMark x1="85279" y1="28516" x2="90355" y2="35156"/>
                        <a14:foregroundMark x1="90355" y1="35156" x2="92893" y2="41406"/>
                        <a14:foregroundMark x1="4061" y1="25391" x2="4061" y2="25391"/>
                        <a14:foregroundMark x1="3046" y1="26172" x2="3046" y2="26172"/>
                        <a14:foregroundMark x1="18782" y1="16797" x2="26904" y2="12109"/>
                        <a14:foregroundMark x1="26904" y1="12109" x2="36041" y2="10156"/>
                        <a14:foregroundMark x1="36041" y1="10156" x2="21320" y2="15234"/>
                        <a14:foregroundMark x1="19289" y1="8203" x2="40102" y2="5859"/>
                        <a14:foregroundMark x1="40102" y1="5859" x2="49239" y2="3125"/>
                        <a14:foregroundMark x1="49239" y1="3125" x2="59391" y2="3125"/>
                        <a14:foregroundMark x1="59391" y1="3125" x2="74619" y2="3125"/>
                        <a14:foregroundMark x1="82338" y1="4688" x2="84264" y2="5078"/>
                        <a14:foregroundMark x1="80407" y1="4297" x2="82338" y2="4688"/>
                        <a14:foregroundMark x1="74619" y1="3125" x2="80407" y2="4297"/>
                        <a14:foregroundMark x1="84264" y1="5078" x2="84772" y2="7031"/>
                        <a14:foregroundMark x1="96447" y1="55469" x2="97462" y2="62500"/>
                        <a14:foregroundMark x1="97462" y1="62500" x2="86294" y2="75391"/>
                        <a14:foregroundMark x1="86294" y1="75391" x2="85787" y2="78125"/>
                        <a14:foregroundMark x1="4569" y1="56641" x2="4569" y2="63672"/>
                        <a14:foregroundMark x1="4569" y1="63672" x2="7614" y2="70703"/>
                        <a14:foregroundMark x1="7614" y1="70703" x2="13706" y2="74609"/>
                        <a14:foregroundMark x1="31472" y1="92969" x2="39086" y2="98438"/>
                        <a14:foregroundMark x1="39086" y1="98438" x2="58883" y2="97656"/>
                        <a14:foregroundMark x1="58883" y1="97656" x2="71066" y2="92969"/>
                        <a14:foregroundMark x1="46701" y1="78906" x2="63452" y2="79297"/>
                        <a14:foregroundMark x1="52797" y1="69531" x2="55838" y2="69141"/>
                        <a14:foregroundMark x1="49749" y1="69922" x2="52797" y2="69531"/>
                        <a14:foregroundMark x1="46701" y1="70313" x2="49749" y2="69922"/>
                        <a14:foregroundMark x1="55838" y1="69141" x2="56345" y2="64453"/>
                        <a14:foregroundMark x1="39594" y1="47266" x2="40102" y2="47266"/>
                        <a14:foregroundMark x1="74112" y1="46484" x2="74112" y2="46484"/>
                        <a14:foregroundMark x1="69543" y1="55078" x2="69543" y2="55078"/>
                        <a14:foregroundMark x1="35533" y1="55469" x2="35533" y2="55469"/>
                        <a14:foregroundMark x1="60406" y1="781" x2="60406" y2="781"/>
                        <a14:backgroundMark x1="83756" y1="4297" x2="83756" y2="4297"/>
                        <a14:backgroundMark x1="84772" y1="4688" x2="84772" y2="4688"/>
                        <a14:backgroundMark x1="50254" y1="69922" x2="50254" y2="69922"/>
                        <a14:backgroundMark x1="49239" y1="69922" x2="49239" y2="69922"/>
                        <a14:backgroundMark x1="51777" y1="69531" x2="51777" y2="69531"/>
                        <a14:backgroundMark x1="56853" y1="69922" x2="56853" y2="69922"/>
                        <a14:backgroundMark x1="48223" y1="69922" x2="48223" y2="69922"/>
                        <a14:backgroundMark x1="39594" y1="99219" x2="39594" y2="99219"/>
                        <a14:backgroundMark x1="38579" y1="98828" x2="38579" y2="98828"/>
                        <a14:backgroundMark x1="37563" y1="98438" x2="37563" y2="98438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0425" y="1492135"/>
            <a:ext cx="349497" cy="454169"/>
          </a:xfrm>
          <a:prstGeom prst="rect">
            <a:avLst/>
          </a:prstGeom>
        </p:spPr>
      </p:pic>
      <p:sp>
        <p:nvSpPr>
          <p:cNvPr id="6" name="Texto Explicativo: Linha 5">
            <a:extLst>
              <a:ext uri="{FF2B5EF4-FFF2-40B4-BE49-F238E27FC236}">
                <a16:creationId xmlns:a16="http://schemas.microsoft.com/office/drawing/2014/main" id="{BC29F466-B1F1-498A-AFBA-78CEAD30FE68}"/>
              </a:ext>
            </a:extLst>
          </p:cNvPr>
          <p:cNvSpPr/>
          <p:nvPr/>
        </p:nvSpPr>
        <p:spPr>
          <a:xfrm>
            <a:off x="4774719" y="1287868"/>
            <a:ext cx="4162649" cy="1283882"/>
          </a:xfrm>
          <a:prstGeom prst="borderCallout1">
            <a:avLst>
              <a:gd name="adj1" fmla="val 48564"/>
              <a:gd name="adj2" fmla="val -4501"/>
              <a:gd name="adj3" fmla="val 47783"/>
              <a:gd name="adj4" fmla="val -84268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14313" indent="-214313">
              <a:buFont typeface="Wingdings" panose="05000000000000000000" pitchFamily="2" charset="2"/>
              <a:buChar char="§"/>
              <a:defRPr/>
            </a:pPr>
            <a:r>
              <a:rPr lang="pt-BR" sz="1050" dirty="0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/>
              </a:rPr>
              <a:t>Agilidade na tomada de decisão</a:t>
            </a:r>
          </a:p>
          <a:p>
            <a:pPr marL="214313" indent="-214313">
              <a:buFont typeface="Wingdings" panose="05000000000000000000" pitchFamily="2" charset="2"/>
              <a:buChar char="§"/>
              <a:defRPr/>
            </a:pPr>
            <a:r>
              <a:rPr lang="pt-BR" sz="1050" dirty="0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/>
              </a:rPr>
              <a:t>Autonomia para itens pontuais;</a:t>
            </a:r>
          </a:p>
          <a:p>
            <a:pPr marL="214313" indent="-214313">
              <a:buFont typeface="Wingdings" panose="05000000000000000000" pitchFamily="2" charset="2"/>
              <a:buChar char="§"/>
              <a:defRPr/>
            </a:pPr>
            <a:r>
              <a:rPr lang="pt-BR" sz="1050" dirty="0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/>
              </a:rPr>
              <a:t>Visão mais realista sobre </a:t>
            </a:r>
            <a:r>
              <a:rPr lang="pt-BR" sz="1050" dirty="0" err="1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/>
              </a:rPr>
              <a:t>capacity</a:t>
            </a:r>
            <a:r>
              <a:rPr lang="pt-BR" sz="1050" dirty="0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/>
              </a:rPr>
              <a:t>;</a:t>
            </a:r>
          </a:p>
          <a:p>
            <a:pPr marL="214313" indent="-214313">
              <a:buFont typeface="Wingdings" panose="05000000000000000000" pitchFamily="2" charset="2"/>
              <a:buChar char="§"/>
              <a:defRPr/>
            </a:pPr>
            <a:r>
              <a:rPr lang="pt-BR" sz="1050" dirty="0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/>
              </a:rPr>
              <a:t>Priorização de time </a:t>
            </a:r>
            <a:r>
              <a:rPr lang="pt-BR" sz="1050" dirty="0" err="1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/>
              </a:rPr>
              <a:t>to</a:t>
            </a:r>
            <a:r>
              <a:rPr lang="pt-BR" sz="1050" dirty="0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/>
              </a:rPr>
              <a:t> </a:t>
            </a:r>
            <a:r>
              <a:rPr lang="pt-BR" sz="1050" dirty="0" err="1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/>
              </a:rPr>
              <a:t>market</a:t>
            </a:r>
            <a:r>
              <a:rPr lang="pt-BR" sz="1050" dirty="0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/>
              </a:rPr>
              <a:t> (menos </a:t>
            </a:r>
            <a:r>
              <a:rPr lang="pt-BR" sz="1050" dirty="0" err="1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/>
              </a:rPr>
              <a:t>DRFs</a:t>
            </a:r>
            <a:r>
              <a:rPr lang="pt-BR" sz="1050" dirty="0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/>
              </a:rPr>
              <a:t>, mais </a:t>
            </a:r>
            <a:r>
              <a:rPr lang="pt-BR" sz="1050" dirty="0" err="1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/>
              </a:rPr>
              <a:t>estragégia</a:t>
            </a:r>
            <a:r>
              <a:rPr lang="pt-BR" sz="1050" dirty="0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/>
              </a:rPr>
              <a:t>);</a:t>
            </a:r>
          </a:p>
          <a:p>
            <a:pPr marL="214313" indent="-214313">
              <a:buFont typeface="Wingdings" panose="05000000000000000000" pitchFamily="2" charset="2"/>
              <a:buChar char="§"/>
              <a:defRPr/>
            </a:pPr>
            <a:r>
              <a:rPr lang="pt-BR" sz="1050" dirty="0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/>
              </a:rPr>
              <a:t>Conexão entre negócios e TI (quebra de silos).</a:t>
            </a:r>
          </a:p>
        </p:txBody>
      </p:sp>
      <p:sp>
        <p:nvSpPr>
          <p:cNvPr id="7" name="CaixaDeTexto 6">
            <a:extLst>
              <a:ext uri="{FF2B5EF4-FFF2-40B4-BE49-F238E27FC236}">
                <a16:creationId xmlns:a16="http://schemas.microsoft.com/office/drawing/2014/main" id="{4E8A9E7A-3DE2-4193-B97A-B73888D01597}"/>
              </a:ext>
            </a:extLst>
          </p:cNvPr>
          <p:cNvSpPr txBox="1"/>
          <p:nvPr/>
        </p:nvSpPr>
        <p:spPr>
          <a:xfrm flipH="1">
            <a:off x="1257014" y="1946303"/>
            <a:ext cx="3314984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pt-BR" sz="1050" dirty="0">
                <a:solidFill>
                  <a:prstClr val="white">
                    <a:lumMod val="50000"/>
                  </a:prstClr>
                </a:solidFill>
                <a:latin typeface="Calibri" panose="020F0502020204030204"/>
              </a:rPr>
              <a:t>Nível adequado de autonomia para atender seus clientes sem comprometer a priorização corporativa.</a:t>
            </a:r>
          </a:p>
        </p:txBody>
      </p:sp>
      <p:sp>
        <p:nvSpPr>
          <p:cNvPr id="8" name="Retângulo 7">
            <a:extLst>
              <a:ext uri="{FF2B5EF4-FFF2-40B4-BE49-F238E27FC236}">
                <a16:creationId xmlns:a16="http://schemas.microsoft.com/office/drawing/2014/main" id="{B3835CA3-0F80-4A8A-A860-07FB32284A0C}"/>
              </a:ext>
            </a:extLst>
          </p:cNvPr>
          <p:cNvSpPr/>
          <p:nvPr/>
        </p:nvSpPr>
        <p:spPr>
          <a:xfrm>
            <a:off x="1257014" y="1492134"/>
            <a:ext cx="3314984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pt-BR" sz="1050" dirty="0">
                <a:solidFill>
                  <a:prstClr val="white">
                    <a:lumMod val="50000"/>
                  </a:prstClr>
                </a:solidFill>
                <a:latin typeface="Calibri" panose="020F0502020204030204"/>
              </a:rPr>
              <a:t>Capacidade de adaptar os backlogs de acordo as necessidade da cadeia e do negócio.</a:t>
            </a:r>
          </a:p>
        </p:txBody>
      </p:sp>
      <p:sp>
        <p:nvSpPr>
          <p:cNvPr id="11" name="Texto Explicativo: Linha 10">
            <a:extLst>
              <a:ext uri="{FF2B5EF4-FFF2-40B4-BE49-F238E27FC236}">
                <a16:creationId xmlns:a16="http://schemas.microsoft.com/office/drawing/2014/main" id="{4A86D756-048E-4B1F-9B47-EDCD823BC65C}"/>
              </a:ext>
            </a:extLst>
          </p:cNvPr>
          <p:cNvSpPr/>
          <p:nvPr/>
        </p:nvSpPr>
        <p:spPr>
          <a:xfrm>
            <a:off x="4777375" y="2713060"/>
            <a:ext cx="4162649" cy="1283882"/>
          </a:xfrm>
          <a:prstGeom prst="borderCallout1">
            <a:avLst>
              <a:gd name="adj1" fmla="val 48564"/>
              <a:gd name="adj2" fmla="val -4501"/>
              <a:gd name="adj3" fmla="val 47783"/>
              <a:gd name="adj4" fmla="val -84268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14313" indent="-214313">
              <a:buFont typeface="Wingdings" panose="05000000000000000000" pitchFamily="2" charset="2"/>
              <a:buChar char="§"/>
              <a:defRPr/>
            </a:pPr>
            <a:r>
              <a:rPr lang="pt-BR" sz="1050" dirty="0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/>
              </a:rPr>
              <a:t>Redução do </a:t>
            </a:r>
            <a:r>
              <a:rPr lang="pt-BR" sz="1050" dirty="0" err="1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/>
              </a:rPr>
              <a:t>micro-gerenciamento</a:t>
            </a:r>
            <a:r>
              <a:rPr lang="pt-BR" sz="1050" dirty="0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/>
              </a:rPr>
              <a:t>;</a:t>
            </a:r>
          </a:p>
          <a:p>
            <a:pPr marL="214313" indent="-214313">
              <a:buFont typeface="Wingdings" panose="05000000000000000000" pitchFamily="2" charset="2"/>
              <a:buChar char="§"/>
              <a:defRPr/>
            </a:pPr>
            <a:r>
              <a:rPr lang="pt-BR" sz="1050" dirty="0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/>
              </a:rPr>
              <a:t>Colaboração entre </a:t>
            </a:r>
            <a:r>
              <a:rPr lang="pt-BR" sz="1050" dirty="0" err="1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/>
              </a:rPr>
              <a:t>squads</a:t>
            </a:r>
            <a:r>
              <a:rPr lang="pt-BR" sz="1050" dirty="0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/>
              </a:rPr>
              <a:t>;</a:t>
            </a:r>
          </a:p>
          <a:p>
            <a:pPr marL="214313" indent="-214313">
              <a:buFont typeface="Wingdings" panose="05000000000000000000" pitchFamily="2" charset="2"/>
              <a:buChar char="§"/>
              <a:defRPr/>
            </a:pPr>
            <a:r>
              <a:rPr lang="pt-BR" sz="1050" dirty="0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/>
              </a:rPr>
              <a:t>Comunicação efetiva;</a:t>
            </a:r>
          </a:p>
          <a:p>
            <a:pPr marL="214313" indent="-214313">
              <a:buFont typeface="Wingdings" panose="05000000000000000000" pitchFamily="2" charset="2"/>
              <a:buChar char="§"/>
              <a:defRPr/>
            </a:pPr>
            <a:r>
              <a:rPr lang="pt-BR" sz="1050" dirty="0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/>
              </a:rPr>
              <a:t>Melhoria contínua;</a:t>
            </a:r>
          </a:p>
          <a:p>
            <a:pPr marL="214313" indent="-214313">
              <a:buFont typeface="Wingdings" panose="05000000000000000000" pitchFamily="2" charset="2"/>
              <a:buChar char="§"/>
              <a:defRPr/>
            </a:pPr>
            <a:r>
              <a:rPr lang="pt-BR" sz="1050" dirty="0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/>
              </a:rPr>
              <a:t>Facilitação, disciplina e gestão da mudança em nível de </a:t>
            </a:r>
            <a:r>
              <a:rPr lang="pt-BR" sz="1050" dirty="0" err="1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/>
              </a:rPr>
              <a:t>squad</a:t>
            </a:r>
            <a:r>
              <a:rPr lang="pt-BR" sz="1050" dirty="0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/>
              </a:rPr>
              <a:t>.</a:t>
            </a:r>
          </a:p>
        </p:txBody>
      </p:sp>
      <p:sp>
        <p:nvSpPr>
          <p:cNvPr id="12" name="CaixaDeTexto 11">
            <a:extLst>
              <a:ext uri="{FF2B5EF4-FFF2-40B4-BE49-F238E27FC236}">
                <a16:creationId xmlns:a16="http://schemas.microsoft.com/office/drawing/2014/main" id="{7D3E467A-8040-443E-888D-D3C9C64721EC}"/>
              </a:ext>
            </a:extLst>
          </p:cNvPr>
          <p:cNvSpPr txBox="1"/>
          <p:nvPr/>
        </p:nvSpPr>
        <p:spPr>
          <a:xfrm flipH="1">
            <a:off x="1259670" y="3371496"/>
            <a:ext cx="3314984" cy="5770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pt-BR" sz="1050" dirty="0">
                <a:solidFill>
                  <a:prstClr val="white">
                    <a:lumMod val="50000"/>
                  </a:prstClr>
                </a:solidFill>
                <a:latin typeface="Calibri" panose="020F0502020204030204"/>
              </a:rPr>
              <a:t>Garante que o time tenha um plano de melhoria contínua e que os valores, princípios e práticas ágeis sejam compreendidos aplicados pela </a:t>
            </a:r>
            <a:r>
              <a:rPr lang="pt-BR" sz="1050" dirty="0" err="1">
                <a:solidFill>
                  <a:prstClr val="white">
                    <a:lumMod val="50000"/>
                  </a:prstClr>
                </a:solidFill>
                <a:latin typeface="Calibri" panose="020F0502020204030204"/>
              </a:rPr>
              <a:t>Squad</a:t>
            </a:r>
            <a:r>
              <a:rPr lang="pt-BR" sz="1050" dirty="0">
                <a:solidFill>
                  <a:prstClr val="white">
                    <a:lumMod val="50000"/>
                  </a:prstClr>
                </a:solidFill>
                <a:latin typeface="Calibri" panose="020F0502020204030204"/>
              </a:rPr>
              <a:t> e seu contexto.</a:t>
            </a:r>
          </a:p>
        </p:txBody>
      </p:sp>
      <p:sp>
        <p:nvSpPr>
          <p:cNvPr id="13" name="Retângulo 12">
            <a:extLst>
              <a:ext uri="{FF2B5EF4-FFF2-40B4-BE49-F238E27FC236}">
                <a16:creationId xmlns:a16="http://schemas.microsoft.com/office/drawing/2014/main" id="{337BD675-0044-4D5A-96AE-058BCD333B1B}"/>
              </a:ext>
            </a:extLst>
          </p:cNvPr>
          <p:cNvSpPr/>
          <p:nvPr/>
        </p:nvSpPr>
        <p:spPr>
          <a:xfrm>
            <a:off x="1257014" y="2943131"/>
            <a:ext cx="3314984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pt-BR" sz="1050" dirty="0">
                <a:solidFill>
                  <a:prstClr val="white">
                    <a:lumMod val="50000"/>
                  </a:prstClr>
                </a:solidFill>
                <a:latin typeface="Calibri" panose="020F0502020204030204"/>
              </a:rPr>
              <a:t>Desenvolve a auto-organização da </a:t>
            </a:r>
            <a:r>
              <a:rPr lang="pt-BR" sz="1050" dirty="0" err="1">
                <a:solidFill>
                  <a:prstClr val="white">
                    <a:lumMod val="50000"/>
                  </a:prstClr>
                </a:solidFill>
                <a:latin typeface="Calibri" panose="020F0502020204030204"/>
              </a:rPr>
              <a:t>Squad</a:t>
            </a:r>
            <a:r>
              <a:rPr lang="pt-BR" sz="1050" dirty="0">
                <a:solidFill>
                  <a:prstClr val="white">
                    <a:lumMod val="50000"/>
                  </a:prstClr>
                </a:solidFill>
                <a:latin typeface="Calibri" panose="020F0502020204030204"/>
              </a:rPr>
              <a:t> e colaboração com a cadeia de valor.</a:t>
            </a:r>
          </a:p>
        </p:txBody>
      </p:sp>
      <p:grpSp>
        <p:nvGrpSpPr>
          <p:cNvPr id="14" name="Agrupar 13">
            <a:extLst>
              <a:ext uri="{FF2B5EF4-FFF2-40B4-BE49-F238E27FC236}">
                <a16:creationId xmlns:a16="http://schemas.microsoft.com/office/drawing/2014/main" id="{5DB357E1-0A8F-4DF6-9841-124E4F4CD855}"/>
              </a:ext>
            </a:extLst>
          </p:cNvPr>
          <p:cNvGrpSpPr/>
          <p:nvPr/>
        </p:nvGrpSpPr>
        <p:grpSpPr>
          <a:xfrm>
            <a:off x="203977" y="2974437"/>
            <a:ext cx="1027026" cy="817203"/>
            <a:chOff x="5482724" y="5078409"/>
            <a:chExt cx="1362550" cy="1089604"/>
          </a:xfrm>
        </p:grpSpPr>
        <p:pic>
          <p:nvPicPr>
            <p:cNvPr id="15" name="Imagem" descr="Imagem">
              <a:extLst>
                <a:ext uri="{FF2B5EF4-FFF2-40B4-BE49-F238E27FC236}">
                  <a16:creationId xmlns:a16="http://schemas.microsoft.com/office/drawing/2014/main" id="{598FF0AE-1E23-4C8B-BEFF-D854D9A0600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90029" y="5078409"/>
              <a:ext cx="747949" cy="747950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  <p:sp>
          <p:nvSpPr>
            <p:cNvPr id="16" name="CaixaDeTexto 15">
              <a:extLst>
                <a:ext uri="{FF2B5EF4-FFF2-40B4-BE49-F238E27FC236}">
                  <a16:creationId xmlns:a16="http://schemas.microsoft.com/office/drawing/2014/main" id="{EEAF454E-DD81-48CD-B418-A9594EBF8346}"/>
                </a:ext>
              </a:extLst>
            </p:cNvPr>
            <p:cNvSpPr txBox="1"/>
            <p:nvPr/>
          </p:nvSpPr>
          <p:spPr>
            <a:xfrm>
              <a:off x="5482724" y="5798681"/>
              <a:ext cx="1362550" cy="36933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ctr">
                <a:defRPr/>
              </a:pPr>
              <a:r>
                <a:rPr lang="pt-BR" sz="1200" dirty="0" err="1">
                  <a:solidFill>
                    <a:prstClr val="black"/>
                  </a:solidFill>
                  <a:latin typeface="Calibri" panose="020F0502020204030204"/>
                </a:rPr>
                <a:t>Agile</a:t>
              </a:r>
              <a:r>
                <a:rPr lang="pt-BR" sz="1200" dirty="0">
                  <a:solidFill>
                    <a:prstClr val="black"/>
                  </a:solidFill>
                  <a:latin typeface="Calibri" panose="020F0502020204030204"/>
                </a:rPr>
                <a:t> Master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7572121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tângulo: Cantos Arredondados 3">
            <a:extLst>
              <a:ext uri="{FF2B5EF4-FFF2-40B4-BE49-F238E27FC236}">
                <a16:creationId xmlns:a16="http://schemas.microsoft.com/office/drawing/2014/main" id="{C8A48B3A-FED3-4FF3-8304-BF1BC8623171}"/>
              </a:ext>
            </a:extLst>
          </p:cNvPr>
          <p:cNvSpPr/>
          <p:nvPr/>
        </p:nvSpPr>
        <p:spPr>
          <a:xfrm>
            <a:off x="311674" y="1237586"/>
            <a:ext cx="566876" cy="358206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pt-BR">
              <a:solidFill>
                <a:prstClr val="white"/>
              </a:solidFill>
              <a:latin typeface="Calibri" panose="020F0502020204030204"/>
            </a:endParaRPr>
          </a:p>
        </p:txBody>
      </p:sp>
      <p:pic>
        <p:nvPicPr>
          <p:cNvPr id="5" name="Imagem" descr="Imagem">
            <a:extLst>
              <a:ext uri="{FF2B5EF4-FFF2-40B4-BE49-F238E27FC236}">
                <a16:creationId xmlns:a16="http://schemas.microsoft.com/office/drawing/2014/main" id="{6E3DBEF8-4586-49F7-AE32-A69ECF9D2A4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3050" y="1371300"/>
            <a:ext cx="450407" cy="420971"/>
          </a:xfrm>
          <a:prstGeom prst="rect">
            <a:avLst/>
          </a:prstGeom>
          <a:ln w="12700" cap="flat">
            <a:noFill/>
            <a:miter lim="400000"/>
          </a:ln>
          <a:effectLst/>
        </p:spPr>
      </p:pic>
      <p:pic>
        <p:nvPicPr>
          <p:cNvPr id="6" name="Imagem" descr="Imagem">
            <a:extLst>
              <a:ext uri="{FF2B5EF4-FFF2-40B4-BE49-F238E27FC236}">
                <a16:creationId xmlns:a16="http://schemas.microsoft.com/office/drawing/2014/main" id="{B30B1141-45C9-4B4F-8DA7-676E94C91F4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83050" y="4128868"/>
            <a:ext cx="420970" cy="420971"/>
          </a:xfrm>
          <a:prstGeom prst="rect">
            <a:avLst/>
          </a:prstGeom>
          <a:ln w="12700" cap="flat">
            <a:noFill/>
            <a:miter lim="400000"/>
          </a:ln>
          <a:effectLst/>
        </p:spPr>
      </p:pic>
      <p:pic>
        <p:nvPicPr>
          <p:cNvPr id="7" name="Imagem 6">
            <a:extLst>
              <a:ext uri="{FF2B5EF4-FFF2-40B4-BE49-F238E27FC236}">
                <a16:creationId xmlns:a16="http://schemas.microsoft.com/office/drawing/2014/main" id="{077C67CC-1B4A-44AC-94BA-032BEDFF5E3C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biLevel thresh="75000"/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781" b="97266" l="3046" r="97462">
                        <a14:foregroundMark x1="45685" y1="8984" x2="63959" y2="17188"/>
                        <a14:foregroundMark x1="54822" y1="15234" x2="37056" y2="18750"/>
                        <a14:foregroundMark x1="37056" y1="18750" x2="52792" y2="14844"/>
                        <a14:foregroundMark x1="52792" y1="14844" x2="49746" y2="22656"/>
                        <a14:foregroundMark x1="49746" y1="22656" x2="44162" y2="14453"/>
                        <a14:foregroundMark x1="44162" y1="14453" x2="52792" y2="8594"/>
                        <a14:foregroundMark x1="52792" y1="8594" x2="68528" y2="7813"/>
                        <a14:foregroundMark x1="68528" y1="7813" x2="77665" y2="10156"/>
                        <a14:foregroundMark x1="77665" y1="10156" x2="72081" y2="19531"/>
                        <a14:foregroundMark x1="72081" y1="19531" x2="79695" y2="12891"/>
                        <a14:foregroundMark x1="79695" y1="12891" x2="86294" y2="21094"/>
                        <a14:foregroundMark x1="86294" y1="21094" x2="85279" y2="28516"/>
                        <a14:foregroundMark x1="85279" y1="28516" x2="90355" y2="35156"/>
                        <a14:foregroundMark x1="90355" y1="35156" x2="92893" y2="41406"/>
                        <a14:foregroundMark x1="4061" y1="25391" x2="4061" y2="25391"/>
                        <a14:foregroundMark x1="3046" y1="26172" x2="3046" y2="26172"/>
                        <a14:foregroundMark x1="18782" y1="16797" x2="26904" y2="12109"/>
                        <a14:foregroundMark x1="26904" y1="12109" x2="36041" y2="10156"/>
                        <a14:foregroundMark x1="36041" y1="10156" x2="21320" y2="15234"/>
                        <a14:foregroundMark x1="19289" y1="8203" x2="40102" y2="5859"/>
                        <a14:foregroundMark x1="40102" y1="5859" x2="49239" y2="3125"/>
                        <a14:foregroundMark x1="49239" y1="3125" x2="59391" y2="3125"/>
                        <a14:foregroundMark x1="59391" y1="3125" x2="74619" y2="3125"/>
                        <a14:foregroundMark x1="82338" y1="4688" x2="84264" y2="5078"/>
                        <a14:foregroundMark x1="80407" y1="4297" x2="82338" y2="4688"/>
                        <a14:foregroundMark x1="74619" y1="3125" x2="80407" y2="4297"/>
                        <a14:foregroundMark x1="84264" y1="5078" x2="84772" y2="7031"/>
                        <a14:foregroundMark x1="96447" y1="55469" x2="97462" y2="62500"/>
                        <a14:foregroundMark x1="97462" y1="62500" x2="86294" y2="75391"/>
                        <a14:foregroundMark x1="86294" y1="75391" x2="85787" y2="78125"/>
                        <a14:foregroundMark x1="4569" y1="56641" x2="4569" y2="63672"/>
                        <a14:foregroundMark x1="4569" y1="63672" x2="7614" y2="70703"/>
                        <a14:foregroundMark x1="7614" y1="70703" x2="13706" y2="74609"/>
                        <a14:foregroundMark x1="31472" y1="92969" x2="39086" y2="98438"/>
                        <a14:foregroundMark x1="39086" y1="98438" x2="58883" y2="97656"/>
                        <a14:foregroundMark x1="58883" y1="97656" x2="71066" y2="92969"/>
                        <a14:foregroundMark x1="46701" y1="78906" x2="63452" y2="79297"/>
                        <a14:foregroundMark x1="52797" y1="69531" x2="55838" y2="69141"/>
                        <a14:foregroundMark x1="49749" y1="69922" x2="52797" y2="69531"/>
                        <a14:foregroundMark x1="46701" y1="70313" x2="49749" y2="69922"/>
                        <a14:foregroundMark x1="55838" y1="69141" x2="56345" y2="64453"/>
                        <a14:foregroundMark x1="39594" y1="47266" x2="40102" y2="47266"/>
                        <a14:foregroundMark x1="74112" y1="46484" x2="74112" y2="46484"/>
                        <a14:foregroundMark x1="69543" y1="55078" x2="69543" y2="55078"/>
                        <a14:foregroundMark x1="35533" y1="55469" x2="35533" y2="55469"/>
                        <a14:foregroundMark x1="60406" y1="781" x2="60406" y2="781"/>
                        <a14:backgroundMark x1="83756" y1="4297" x2="83756" y2="4297"/>
                        <a14:backgroundMark x1="84772" y1="4688" x2="84772" y2="4688"/>
                        <a14:backgroundMark x1="50254" y1="69922" x2="50254" y2="69922"/>
                        <a14:backgroundMark x1="49239" y1="69922" x2="49239" y2="69922"/>
                        <a14:backgroundMark x1="51777" y1="69531" x2="51777" y2="69531"/>
                        <a14:backgroundMark x1="56853" y1="69922" x2="56853" y2="69922"/>
                        <a14:backgroundMark x1="48223" y1="69922" x2="48223" y2="69922"/>
                        <a14:backgroundMark x1="39594" y1="99219" x2="39594" y2="99219"/>
                        <a14:backgroundMark x1="38579" y1="98828" x2="38579" y2="98828"/>
                        <a14:backgroundMark x1="37563" y1="98438" x2="37563" y2="98438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9956" y="2840663"/>
            <a:ext cx="287580" cy="373709"/>
          </a:xfrm>
          <a:prstGeom prst="rect">
            <a:avLst/>
          </a:prstGeom>
        </p:spPr>
      </p:pic>
      <p:sp>
        <p:nvSpPr>
          <p:cNvPr id="8" name="LPM - Lean Portfolio…">
            <a:extLst>
              <a:ext uri="{FF2B5EF4-FFF2-40B4-BE49-F238E27FC236}">
                <a16:creationId xmlns:a16="http://schemas.microsoft.com/office/drawing/2014/main" id="{D81E3AA0-2D19-44AD-A8DA-7BF3EBC20FAD}"/>
              </a:ext>
            </a:extLst>
          </p:cNvPr>
          <p:cNvSpPr txBox="1"/>
          <p:nvPr/>
        </p:nvSpPr>
        <p:spPr>
          <a:xfrm>
            <a:off x="208163" y="4505484"/>
            <a:ext cx="722059" cy="18081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lc="http://schemas.openxmlformats.org/drawingml/2006/lockedCanvas"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38100" tIns="38100" rIns="38100" bIns="38100" numCol="1" anchor="ctr">
            <a:spAutoFit/>
          </a:bodyPr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ctr" defTabSz="584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1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marL="0" marR="0" indent="228600" algn="ctr" defTabSz="584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1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marL="0" marR="0" indent="457200" algn="ctr" defTabSz="584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1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marL="0" marR="0" indent="685800" algn="ctr" defTabSz="584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1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marL="0" marR="0" indent="914400" algn="ctr" defTabSz="584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1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L="0" marR="0" indent="1143000" algn="ctr" defTabSz="584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1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L="0" marR="0" indent="1371600" algn="ctr" defTabSz="584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1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L="0" marR="0" indent="1600200" algn="ctr" defTabSz="584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1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L="0" marR="0" indent="1828800" algn="ctr" defTabSz="584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1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pPr defTabSz="438150">
              <a:defRPr sz="2000"/>
            </a:pPr>
            <a:r>
              <a:rPr lang="pt-BR" sz="675" dirty="0">
                <a:solidFill>
                  <a:srgbClr val="FF0000"/>
                </a:solidFill>
              </a:rPr>
              <a:t>RTE</a:t>
            </a:r>
            <a:endParaRPr sz="675" dirty="0">
              <a:solidFill>
                <a:srgbClr val="FF0000"/>
              </a:solidFill>
            </a:endParaRPr>
          </a:p>
        </p:txBody>
      </p:sp>
      <p:sp>
        <p:nvSpPr>
          <p:cNvPr id="9" name="LPM - Lean Portfolio…">
            <a:extLst>
              <a:ext uri="{FF2B5EF4-FFF2-40B4-BE49-F238E27FC236}">
                <a16:creationId xmlns:a16="http://schemas.microsoft.com/office/drawing/2014/main" id="{D70D88CD-D57B-47D2-885D-BF1A0F0C3086}"/>
              </a:ext>
            </a:extLst>
          </p:cNvPr>
          <p:cNvSpPr txBox="1"/>
          <p:nvPr/>
        </p:nvSpPr>
        <p:spPr>
          <a:xfrm>
            <a:off x="222717" y="3194029"/>
            <a:ext cx="722059" cy="18081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lc="http://schemas.openxmlformats.org/drawingml/2006/lockedCanvas"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38100" tIns="38100" rIns="38100" bIns="38100" numCol="1" anchor="ctr">
            <a:spAutoFit/>
          </a:bodyPr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ctr" defTabSz="584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1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marL="0" marR="0" indent="228600" algn="ctr" defTabSz="584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1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marL="0" marR="0" indent="457200" algn="ctr" defTabSz="584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1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marL="0" marR="0" indent="685800" algn="ctr" defTabSz="584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1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marL="0" marR="0" indent="914400" algn="ctr" defTabSz="584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1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L="0" marR="0" indent="1143000" algn="ctr" defTabSz="584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1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L="0" marR="0" indent="1371600" algn="ctr" defTabSz="584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1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L="0" marR="0" indent="1600200" algn="ctr" defTabSz="584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1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L="0" marR="0" indent="1828800" algn="ctr" defTabSz="584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1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pPr defTabSz="438150">
              <a:defRPr sz="2000"/>
            </a:pPr>
            <a:r>
              <a:rPr lang="pt-BR" sz="675" dirty="0">
                <a:solidFill>
                  <a:srgbClr val="FF0000"/>
                </a:solidFill>
              </a:rPr>
              <a:t>AT</a:t>
            </a:r>
            <a:endParaRPr sz="675" dirty="0">
              <a:solidFill>
                <a:srgbClr val="FF0000"/>
              </a:solidFill>
            </a:endParaRPr>
          </a:p>
        </p:txBody>
      </p:sp>
      <p:sp>
        <p:nvSpPr>
          <p:cNvPr id="10" name="LPM - Lean Portfolio…">
            <a:extLst>
              <a:ext uri="{FF2B5EF4-FFF2-40B4-BE49-F238E27FC236}">
                <a16:creationId xmlns:a16="http://schemas.microsoft.com/office/drawing/2014/main" id="{D5A5A83A-4DAD-4147-A565-C7D403033D69}"/>
              </a:ext>
            </a:extLst>
          </p:cNvPr>
          <p:cNvSpPr txBox="1"/>
          <p:nvPr/>
        </p:nvSpPr>
        <p:spPr>
          <a:xfrm>
            <a:off x="230412" y="1749496"/>
            <a:ext cx="722059" cy="18081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lc="http://schemas.openxmlformats.org/drawingml/2006/lockedCanvas"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38100" tIns="38100" rIns="38100" bIns="38100" numCol="1" anchor="ctr">
            <a:spAutoFit/>
          </a:bodyPr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ctr" defTabSz="584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1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marL="0" marR="0" indent="228600" algn="ctr" defTabSz="584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1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marL="0" marR="0" indent="457200" algn="ctr" defTabSz="584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1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marL="0" marR="0" indent="685800" algn="ctr" defTabSz="584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1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marL="0" marR="0" indent="914400" algn="ctr" defTabSz="584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1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L="0" marR="0" indent="1143000" algn="ctr" defTabSz="584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1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L="0" marR="0" indent="1371600" algn="ctr" defTabSz="584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1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L="0" marR="0" indent="1600200" algn="ctr" defTabSz="584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1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L="0" marR="0" indent="1828800" algn="ctr" defTabSz="584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1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pPr defTabSz="438150">
              <a:defRPr sz="2000"/>
            </a:pPr>
            <a:r>
              <a:rPr lang="pt-BR" sz="675" dirty="0">
                <a:solidFill>
                  <a:srgbClr val="FF0000"/>
                </a:solidFill>
              </a:rPr>
              <a:t>AN</a:t>
            </a:r>
            <a:endParaRPr sz="675" dirty="0">
              <a:solidFill>
                <a:srgbClr val="FF0000"/>
              </a:solidFill>
            </a:endParaRPr>
          </a:p>
        </p:txBody>
      </p:sp>
      <p:sp>
        <p:nvSpPr>
          <p:cNvPr id="11" name="Texto Explicativo: Linha 10">
            <a:extLst>
              <a:ext uri="{FF2B5EF4-FFF2-40B4-BE49-F238E27FC236}">
                <a16:creationId xmlns:a16="http://schemas.microsoft.com/office/drawing/2014/main" id="{052B9338-9BE1-42C0-AA66-A2D344534A2F}"/>
              </a:ext>
            </a:extLst>
          </p:cNvPr>
          <p:cNvSpPr/>
          <p:nvPr/>
        </p:nvSpPr>
        <p:spPr>
          <a:xfrm>
            <a:off x="4396255" y="1274155"/>
            <a:ext cx="4162649" cy="1078520"/>
          </a:xfrm>
          <a:prstGeom prst="borderCallout1">
            <a:avLst>
              <a:gd name="adj1" fmla="val 48564"/>
              <a:gd name="adj2" fmla="val -4501"/>
              <a:gd name="adj3" fmla="val 47783"/>
              <a:gd name="adj4" fmla="val -84268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14313" indent="-214313">
              <a:buFont typeface="Wingdings" panose="05000000000000000000" pitchFamily="2" charset="2"/>
              <a:buChar char="§"/>
              <a:defRPr/>
            </a:pPr>
            <a:r>
              <a:rPr lang="pt-BR" sz="1050" dirty="0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/>
              </a:rPr>
              <a:t>Evitar duplicidade de esforço;</a:t>
            </a:r>
          </a:p>
          <a:p>
            <a:pPr marL="214313" indent="-214313">
              <a:buFont typeface="Wingdings" panose="05000000000000000000" pitchFamily="2" charset="2"/>
              <a:buChar char="§"/>
              <a:defRPr/>
            </a:pPr>
            <a:r>
              <a:rPr lang="pt-BR" sz="1050" dirty="0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/>
              </a:rPr>
              <a:t>Simplificação das soluções;</a:t>
            </a:r>
          </a:p>
          <a:p>
            <a:pPr marL="214313" indent="-214313">
              <a:buFont typeface="Wingdings" panose="05000000000000000000" pitchFamily="2" charset="2"/>
              <a:buChar char="§"/>
              <a:defRPr/>
            </a:pPr>
            <a:r>
              <a:rPr lang="pt-BR" sz="1050" dirty="0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/>
              </a:rPr>
              <a:t>Visão sobre possíveis novas linhas de receitas;</a:t>
            </a:r>
          </a:p>
          <a:p>
            <a:pPr marL="214313" indent="-214313">
              <a:buFont typeface="Wingdings" panose="05000000000000000000" pitchFamily="2" charset="2"/>
              <a:buChar char="§"/>
              <a:defRPr/>
            </a:pPr>
            <a:r>
              <a:rPr lang="pt-BR" sz="1050" dirty="0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/>
              </a:rPr>
              <a:t>Aderência ao negócio.</a:t>
            </a:r>
          </a:p>
        </p:txBody>
      </p:sp>
      <p:sp>
        <p:nvSpPr>
          <p:cNvPr id="12" name="CaixaDeTexto 11">
            <a:extLst>
              <a:ext uri="{FF2B5EF4-FFF2-40B4-BE49-F238E27FC236}">
                <a16:creationId xmlns:a16="http://schemas.microsoft.com/office/drawing/2014/main" id="{21105091-D9BF-4398-AD71-0BD9563D7237}"/>
              </a:ext>
            </a:extLst>
          </p:cNvPr>
          <p:cNvSpPr txBox="1"/>
          <p:nvPr/>
        </p:nvSpPr>
        <p:spPr>
          <a:xfrm flipH="1">
            <a:off x="863872" y="1789127"/>
            <a:ext cx="3314984" cy="5770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pt-BR" sz="1050" dirty="0">
                <a:solidFill>
                  <a:prstClr val="white">
                    <a:lumMod val="50000"/>
                  </a:prstClr>
                </a:solidFill>
                <a:latin typeface="Calibri" panose="020F0502020204030204"/>
              </a:rPr>
              <a:t>Influencia a tomada de decisão para a continuidade do negócio e melhor aproveitamento da solução para a cadeia de valor.</a:t>
            </a:r>
          </a:p>
        </p:txBody>
      </p:sp>
      <p:sp>
        <p:nvSpPr>
          <p:cNvPr id="13" name="Retângulo 12">
            <a:extLst>
              <a:ext uri="{FF2B5EF4-FFF2-40B4-BE49-F238E27FC236}">
                <a16:creationId xmlns:a16="http://schemas.microsoft.com/office/drawing/2014/main" id="{44F6BDB3-D64A-454F-AFC0-BC92A5CF6DF0}"/>
              </a:ext>
            </a:extLst>
          </p:cNvPr>
          <p:cNvSpPr/>
          <p:nvPr/>
        </p:nvSpPr>
        <p:spPr>
          <a:xfrm>
            <a:off x="863873" y="1390987"/>
            <a:ext cx="3314984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pt-BR" sz="1050" dirty="0">
                <a:solidFill>
                  <a:prstClr val="white">
                    <a:lumMod val="50000"/>
                  </a:prstClr>
                </a:solidFill>
                <a:latin typeface="Calibri" panose="020F0502020204030204"/>
              </a:rPr>
              <a:t>Passamos a ter a visão abrangente dos processos da cadeia de valor envolvidos em um incremento.</a:t>
            </a:r>
          </a:p>
        </p:txBody>
      </p:sp>
      <p:sp>
        <p:nvSpPr>
          <p:cNvPr id="14" name="Texto Explicativo: Linha 13">
            <a:extLst>
              <a:ext uri="{FF2B5EF4-FFF2-40B4-BE49-F238E27FC236}">
                <a16:creationId xmlns:a16="http://schemas.microsoft.com/office/drawing/2014/main" id="{48BD3193-0A54-4A4F-AC1E-0C7BB8098313}"/>
              </a:ext>
            </a:extLst>
          </p:cNvPr>
          <p:cNvSpPr/>
          <p:nvPr/>
        </p:nvSpPr>
        <p:spPr>
          <a:xfrm>
            <a:off x="4396255" y="2594134"/>
            <a:ext cx="4162649" cy="1078520"/>
          </a:xfrm>
          <a:prstGeom prst="borderCallout1">
            <a:avLst>
              <a:gd name="adj1" fmla="val 48564"/>
              <a:gd name="adj2" fmla="val -4501"/>
              <a:gd name="adj3" fmla="val 47783"/>
              <a:gd name="adj4" fmla="val -84268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14313" indent="-214313">
              <a:buFont typeface="Wingdings" panose="05000000000000000000" pitchFamily="2" charset="2"/>
              <a:buChar char="§"/>
              <a:defRPr/>
            </a:pPr>
            <a:r>
              <a:rPr lang="pt-BR" sz="1050" dirty="0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/>
              </a:rPr>
              <a:t>Antecipação sobre viabilidade técnica (direcionamento).</a:t>
            </a:r>
          </a:p>
          <a:p>
            <a:pPr marL="214313" indent="-214313">
              <a:buFont typeface="Wingdings" panose="05000000000000000000" pitchFamily="2" charset="2"/>
              <a:buChar char="§"/>
              <a:defRPr/>
            </a:pPr>
            <a:r>
              <a:rPr lang="pt-BR" sz="1050" dirty="0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/>
              </a:rPr>
              <a:t>Antecipação de problemas de infraestrutura e ambientes;</a:t>
            </a:r>
          </a:p>
          <a:p>
            <a:pPr marL="214313" indent="-214313">
              <a:buFont typeface="Wingdings" panose="05000000000000000000" pitchFamily="2" charset="2"/>
              <a:buChar char="§"/>
              <a:defRPr/>
            </a:pPr>
            <a:r>
              <a:rPr lang="pt-BR" sz="1050" dirty="0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/>
              </a:rPr>
              <a:t>Visão dos times de TI necessários para a solução;</a:t>
            </a:r>
          </a:p>
          <a:p>
            <a:pPr marL="214313" indent="-214313">
              <a:buFont typeface="Wingdings" panose="05000000000000000000" pitchFamily="2" charset="2"/>
              <a:buChar char="§"/>
              <a:defRPr/>
            </a:pPr>
            <a:r>
              <a:rPr lang="pt-BR" sz="1050" dirty="0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/>
              </a:rPr>
              <a:t>Melhor acuracidade nos orçamentos;</a:t>
            </a:r>
          </a:p>
          <a:p>
            <a:pPr marL="214313" indent="-214313">
              <a:buFont typeface="Wingdings" panose="05000000000000000000" pitchFamily="2" charset="2"/>
              <a:buChar char="§"/>
              <a:defRPr/>
            </a:pPr>
            <a:r>
              <a:rPr lang="pt-BR" sz="1050" dirty="0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/>
              </a:rPr>
              <a:t>Unificação e simplificação das soluções;</a:t>
            </a:r>
          </a:p>
          <a:p>
            <a:pPr marL="214313" indent="-214313">
              <a:buFont typeface="Wingdings" panose="05000000000000000000" pitchFamily="2" charset="2"/>
              <a:buChar char="§"/>
              <a:defRPr/>
            </a:pPr>
            <a:r>
              <a:rPr lang="pt-BR" sz="1050" dirty="0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/>
              </a:rPr>
              <a:t>Evita surpresas nas etapas de implantação;</a:t>
            </a:r>
          </a:p>
        </p:txBody>
      </p:sp>
      <p:sp>
        <p:nvSpPr>
          <p:cNvPr id="15" name="CaixaDeTexto 14">
            <a:extLst>
              <a:ext uri="{FF2B5EF4-FFF2-40B4-BE49-F238E27FC236}">
                <a16:creationId xmlns:a16="http://schemas.microsoft.com/office/drawing/2014/main" id="{5A71DF31-16A2-4A69-9CB2-72530E613151}"/>
              </a:ext>
            </a:extLst>
          </p:cNvPr>
          <p:cNvSpPr txBox="1"/>
          <p:nvPr/>
        </p:nvSpPr>
        <p:spPr>
          <a:xfrm flipH="1">
            <a:off x="878550" y="3112334"/>
            <a:ext cx="3314984" cy="5770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pt-BR" sz="1050" dirty="0">
                <a:solidFill>
                  <a:prstClr val="white">
                    <a:lumMod val="50000"/>
                  </a:prstClr>
                </a:solidFill>
                <a:latin typeface="Calibri" panose="020F0502020204030204"/>
              </a:rPr>
              <a:t>Influencia a tomada de decisão para a continuidade do negócio e melhor aproveitamento dos recursos tecnológicos.</a:t>
            </a:r>
          </a:p>
        </p:txBody>
      </p:sp>
      <p:sp>
        <p:nvSpPr>
          <p:cNvPr id="16" name="Retângulo 15">
            <a:extLst>
              <a:ext uri="{FF2B5EF4-FFF2-40B4-BE49-F238E27FC236}">
                <a16:creationId xmlns:a16="http://schemas.microsoft.com/office/drawing/2014/main" id="{059578A6-186A-4FFC-8D39-E1C0144EDB23}"/>
              </a:ext>
            </a:extLst>
          </p:cNvPr>
          <p:cNvSpPr/>
          <p:nvPr/>
        </p:nvSpPr>
        <p:spPr>
          <a:xfrm>
            <a:off x="878549" y="2552236"/>
            <a:ext cx="3314984" cy="5770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pt-BR" sz="1050" dirty="0">
                <a:solidFill>
                  <a:prstClr val="white">
                    <a:lumMod val="50000"/>
                  </a:prstClr>
                </a:solidFill>
                <a:latin typeface="Calibri" panose="020F0502020204030204"/>
              </a:rPr>
              <a:t>Passamos a ter a visão abrangente dos sistemas e infraestrutura da cadeia de valor envolvidos em um incremento.</a:t>
            </a:r>
          </a:p>
        </p:txBody>
      </p:sp>
      <p:sp>
        <p:nvSpPr>
          <p:cNvPr id="17" name="Texto Explicativo: Linha 16">
            <a:extLst>
              <a:ext uri="{FF2B5EF4-FFF2-40B4-BE49-F238E27FC236}">
                <a16:creationId xmlns:a16="http://schemas.microsoft.com/office/drawing/2014/main" id="{B1769ECE-2161-466D-8C83-B001C3BF7418}"/>
              </a:ext>
            </a:extLst>
          </p:cNvPr>
          <p:cNvSpPr/>
          <p:nvPr/>
        </p:nvSpPr>
        <p:spPr>
          <a:xfrm>
            <a:off x="4396255" y="3943780"/>
            <a:ext cx="4162649" cy="842954"/>
          </a:xfrm>
          <a:prstGeom prst="borderCallout1">
            <a:avLst>
              <a:gd name="adj1" fmla="val 48564"/>
              <a:gd name="adj2" fmla="val -4501"/>
              <a:gd name="adj3" fmla="val 47783"/>
              <a:gd name="adj4" fmla="val -84268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14313" indent="-214313">
              <a:buFont typeface="Wingdings" panose="05000000000000000000" pitchFamily="2" charset="2"/>
              <a:buChar char="§"/>
              <a:defRPr/>
            </a:pPr>
            <a:r>
              <a:rPr lang="pt-BR" sz="1050" dirty="0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/>
              </a:rPr>
              <a:t>Colaboração entre </a:t>
            </a:r>
            <a:r>
              <a:rPr lang="pt-BR" sz="1050" dirty="0" err="1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/>
              </a:rPr>
              <a:t>Squads</a:t>
            </a:r>
            <a:r>
              <a:rPr lang="pt-BR" sz="1050" dirty="0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/>
              </a:rPr>
              <a:t>;</a:t>
            </a:r>
          </a:p>
          <a:p>
            <a:pPr marL="214313" indent="-214313">
              <a:buFont typeface="Wingdings" panose="05000000000000000000" pitchFamily="2" charset="2"/>
              <a:buChar char="§"/>
              <a:defRPr/>
            </a:pPr>
            <a:r>
              <a:rPr lang="pt-BR" sz="1050" dirty="0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/>
              </a:rPr>
              <a:t>Remove impedimentos da cadeia de valor que afetam as releases;</a:t>
            </a:r>
          </a:p>
          <a:p>
            <a:pPr marL="214313" indent="-214313">
              <a:buFont typeface="Wingdings" panose="05000000000000000000" pitchFamily="2" charset="2"/>
              <a:buChar char="§"/>
              <a:defRPr/>
            </a:pPr>
            <a:r>
              <a:rPr lang="pt-BR" sz="1050" dirty="0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/>
              </a:rPr>
              <a:t>Apoio na estratégia de entrega junto aos </a:t>
            </a:r>
            <a:r>
              <a:rPr lang="pt-BR" sz="1050" dirty="0" err="1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/>
              </a:rPr>
              <a:t>POs</a:t>
            </a:r>
            <a:r>
              <a:rPr lang="pt-BR" sz="1050" dirty="0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/>
              </a:rPr>
              <a:t>;</a:t>
            </a:r>
          </a:p>
          <a:p>
            <a:pPr marL="214313" indent="-214313">
              <a:buFont typeface="Wingdings" panose="05000000000000000000" pitchFamily="2" charset="2"/>
              <a:buChar char="§"/>
              <a:defRPr/>
            </a:pPr>
            <a:r>
              <a:rPr lang="pt-BR" sz="1050" dirty="0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/>
              </a:rPr>
              <a:t>Melhoria contínua do processo das releases da cadeia de valor (planejamento, execução e entrega);</a:t>
            </a:r>
          </a:p>
        </p:txBody>
      </p:sp>
      <p:sp>
        <p:nvSpPr>
          <p:cNvPr id="18" name="CaixaDeTexto 17">
            <a:extLst>
              <a:ext uri="{FF2B5EF4-FFF2-40B4-BE49-F238E27FC236}">
                <a16:creationId xmlns:a16="http://schemas.microsoft.com/office/drawing/2014/main" id="{A15E71AB-5BFF-40FD-9D19-05BECC3DA4EA}"/>
              </a:ext>
            </a:extLst>
          </p:cNvPr>
          <p:cNvSpPr txBox="1"/>
          <p:nvPr/>
        </p:nvSpPr>
        <p:spPr>
          <a:xfrm flipH="1">
            <a:off x="869025" y="4356941"/>
            <a:ext cx="3314984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pt-BR" sz="1050" dirty="0">
                <a:solidFill>
                  <a:prstClr val="white">
                    <a:lumMod val="50000"/>
                  </a:prstClr>
                </a:solidFill>
                <a:latin typeface="Calibri" panose="020F0502020204030204"/>
              </a:rPr>
              <a:t>Apoia as </a:t>
            </a:r>
            <a:r>
              <a:rPr lang="pt-BR" sz="1050" dirty="0" err="1">
                <a:solidFill>
                  <a:prstClr val="white">
                    <a:lumMod val="50000"/>
                  </a:prstClr>
                </a:solidFill>
                <a:latin typeface="Calibri" panose="020F0502020204030204"/>
              </a:rPr>
              <a:t>Squads</a:t>
            </a:r>
            <a:r>
              <a:rPr lang="pt-BR" sz="1050" dirty="0">
                <a:solidFill>
                  <a:prstClr val="white">
                    <a:lumMod val="50000"/>
                  </a:prstClr>
                </a:solidFill>
                <a:latin typeface="Calibri" panose="020F0502020204030204"/>
              </a:rPr>
              <a:t> no planejamento das releases e no acompanhamento das atividades “</a:t>
            </a:r>
            <a:r>
              <a:rPr lang="pt-BR" sz="1050" dirty="0" err="1">
                <a:solidFill>
                  <a:prstClr val="white">
                    <a:lumMod val="50000"/>
                  </a:prstClr>
                </a:solidFill>
                <a:latin typeface="Calibri" panose="020F0502020204030204"/>
              </a:rPr>
              <a:t>cross</a:t>
            </a:r>
            <a:r>
              <a:rPr lang="pt-BR" sz="1050" dirty="0">
                <a:solidFill>
                  <a:prstClr val="white">
                    <a:lumMod val="50000"/>
                  </a:prstClr>
                </a:solidFill>
                <a:latin typeface="Calibri" panose="020F0502020204030204"/>
              </a:rPr>
              <a:t> </a:t>
            </a:r>
            <a:r>
              <a:rPr lang="pt-BR" sz="1050" dirty="0" err="1">
                <a:solidFill>
                  <a:prstClr val="white">
                    <a:lumMod val="50000"/>
                  </a:prstClr>
                </a:solidFill>
                <a:latin typeface="Calibri" panose="020F0502020204030204"/>
              </a:rPr>
              <a:t>squads</a:t>
            </a:r>
            <a:r>
              <a:rPr lang="pt-BR" sz="1050" dirty="0">
                <a:solidFill>
                  <a:prstClr val="white">
                    <a:lumMod val="50000"/>
                  </a:prstClr>
                </a:solidFill>
                <a:latin typeface="Calibri" panose="020F0502020204030204"/>
              </a:rPr>
              <a:t>”.</a:t>
            </a:r>
          </a:p>
        </p:txBody>
      </p:sp>
      <p:sp>
        <p:nvSpPr>
          <p:cNvPr id="19" name="Retângulo 18">
            <a:extLst>
              <a:ext uri="{FF2B5EF4-FFF2-40B4-BE49-F238E27FC236}">
                <a16:creationId xmlns:a16="http://schemas.microsoft.com/office/drawing/2014/main" id="{DF306FBF-859C-4E6D-9108-901102C59B55}"/>
              </a:ext>
            </a:extLst>
          </p:cNvPr>
          <p:cNvSpPr/>
          <p:nvPr/>
        </p:nvSpPr>
        <p:spPr>
          <a:xfrm>
            <a:off x="863872" y="3948887"/>
            <a:ext cx="3314984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pt-BR" sz="1050" dirty="0">
                <a:solidFill>
                  <a:prstClr val="white">
                    <a:lumMod val="50000"/>
                  </a:prstClr>
                </a:solidFill>
                <a:latin typeface="Calibri" panose="020F0502020204030204"/>
              </a:rPr>
              <a:t>Facilita a comunicação e sincronização do trabalho entre </a:t>
            </a:r>
            <a:r>
              <a:rPr lang="pt-BR" sz="1050" dirty="0" err="1">
                <a:solidFill>
                  <a:prstClr val="white">
                    <a:lumMod val="50000"/>
                  </a:prstClr>
                </a:solidFill>
                <a:latin typeface="Calibri" panose="020F0502020204030204"/>
              </a:rPr>
              <a:t>Squads</a:t>
            </a:r>
            <a:r>
              <a:rPr lang="pt-BR" sz="1050" dirty="0">
                <a:solidFill>
                  <a:prstClr val="white">
                    <a:lumMod val="50000"/>
                  </a:prstClr>
                </a:solidFill>
                <a:latin typeface="Calibri" panose="020F0502020204030204"/>
              </a:rPr>
              <a:t>;</a:t>
            </a:r>
          </a:p>
        </p:txBody>
      </p:sp>
      <p:sp>
        <p:nvSpPr>
          <p:cNvPr id="20" name="Espaço Reservado para Texto 1">
            <a:extLst>
              <a:ext uri="{FF2B5EF4-FFF2-40B4-BE49-F238E27FC236}">
                <a16:creationId xmlns:a16="http://schemas.microsoft.com/office/drawing/2014/main" id="{D26A9969-0271-426A-8408-B11A519CBEC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4203" y="575841"/>
            <a:ext cx="7953374" cy="383260"/>
          </a:xfrm>
        </p:spPr>
        <p:txBody>
          <a:bodyPr/>
          <a:lstStyle/>
          <a:p>
            <a:r>
              <a:rPr lang="pt-BR" dirty="0"/>
              <a:t>PAPEIS ESPECÍFICOS DA CADEIA DE VALOR E </a:t>
            </a:r>
            <a:r>
              <a:rPr lang="pt-BR" dirty="0">
                <a:solidFill>
                  <a:srgbClr val="FF0000"/>
                </a:solidFill>
              </a:rPr>
              <a:t>Benefícios</a:t>
            </a:r>
          </a:p>
        </p:txBody>
      </p:sp>
      <p:sp>
        <p:nvSpPr>
          <p:cNvPr id="21" name="Espaço Reservado para Texto 2">
            <a:extLst>
              <a:ext uri="{FF2B5EF4-FFF2-40B4-BE49-F238E27FC236}">
                <a16:creationId xmlns:a16="http://schemas.microsoft.com/office/drawing/2014/main" id="{35E59AD7-A794-4600-B127-55AF867A6BE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93725" y="901951"/>
            <a:ext cx="7953374" cy="141344"/>
          </a:xfrm>
        </p:spPr>
        <p:txBody>
          <a:bodyPr/>
          <a:lstStyle/>
          <a:p>
            <a:r>
              <a:rPr lang="pt-BR" dirty="0"/>
              <a:t>O modelo proposto de times (</a:t>
            </a:r>
            <a:r>
              <a:rPr lang="pt-BR" dirty="0" err="1"/>
              <a:t>Squads</a:t>
            </a:r>
            <a:r>
              <a:rPr lang="pt-BR" dirty="0"/>
              <a:t>) de suporte à cadeia de valor promove alguns benefícios como os descritos a seguir.</a:t>
            </a:r>
          </a:p>
        </p:txBody>
      </p:sp>
    </p:spTree>
    <p:extLst>
      <p:ext uri="{BB962C8B-B14F-4D97-AF65-F5344CB8AC3E}">
        <p14:creationId xmlns:p14="http://schemas.microsoft.com/office/powerpoint/2010/main" val="35986740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exto 1">
            <a:extLst>
              <a:ext uri="{FF2B5EF4-FFF2-40B4-BE49-F238E27FC236}">
                <a16:creationId xmlns:a16="http://schemas.microsoft.com/office/drawing/2014/main" id="{27805F21-9E2A-4FAA-B4C6-6D53C1B05D6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pt-BR" dirty="0"/>
              <a:t>Benefícios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336AB7BB-FA7E-445F-A9AC-05D12AEEE49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t-BR" dirty="0"/>
              <a:t>O modelo proposto de times ágeis (</a:t>
            </a:r>
            <a:r>
              <a:rPr lang="pt-BR" dirty="0" err="1"/>
              <a:t>Squads</a:t>
            </a:r>
            <a:r>
              <a:rPr lang="pt-BR" dirty="0"/>
              <a:t>) promove alguns benefícios como os descritos a seguir.</a:t>
            </a:r>
          </a:p>
        </p:txBody>
      </p:sp>
      <p:sp>
        <p:nvSpPr>
          <p:cNvPr id="4" name="CaixaDeTexto 3">
            <a:extLst>
              <a:ext uri="{FF2B5EF4-FFF2-40B4-BE49-F238E27FC236}">
                <a16:creationId xmlns:a16="http://schemas.microsoft.com/office/drawing/2014/main" id="{12781BEB-E6C3-41AC-9CD0-037A56286E0D}"/>
              </a:ext>
            </a:extLst>
          </p:cNvPr>
          <p:cNvSpPr txBox="1"/>
          <p:nvPr/>
        </p:nvSpPr>
        <p:spPr>
          <a:xfrm>
            <a:off x="133333" y="1946303"/>
            <a:ext cx="1123681" cy="42704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pt-BR" dirty="0">
                <a:solidFill>
                  <a:prstClr val="black"/>
                </a:solidFill>
                <a:latin typeface="Calibri" panose="020F0502020204030204"/>
              </a:rPr>
              <a:t>QA</a:t>
            </a:r>
          </a:p>
          <a:p>
            <a:pPr algn="ctr">
              <a:defRPr/>
            </a:pPr>
            <a:r>
              <a:rPr lang="pt-BR" sz="825" dirty="0">
                <a:solidFill>
                  <a:prstClr val="black"/>
                </a:solidFill>
                <a:latin typeface="Calibri" panose="020F0502020204030204"/>
              </a:rPr>
              <a:t>(</a:t>
            </a:r>
            <a:r>
              <a:rPr lang="pt-BR" sz="825" dirty="0" err="1">
                <a:solidFill>
                  <a:prstClr val="black"/>
                </a:solidFill>
                <a:latin typeface="Calibri" panose="020F0502020204030204"/>
              </a:rPr>
              <a:t>Quality</a:t>
            </a:r>
            <a:r>
              <a:rPr lang="pt-BR" sz="825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pt-BR" sz="825" dirty="0" err="1">
                <a:solidFill>
                  <a:prstClr val="black"/>
                </a:solidFill>
                <a:latin typeface="Calibri" panose="020F0502020204030204"/>
              </a:rPr>
              <a:t>Accurance</a:t>
            </a:r>
            <a:r>
              <a:rPr lang="pt-BR" sz="825" dirty="0">
                <a:solidFill>
                  <a:prstClr val="black"/>
                </a:solidFill>
                <a:latin typeface="Calibri" panose="020F0502020204030204"/>
              </a:rPr>
              <a:t>)</a:t>
            </a:r>
          </a:p>
        </p:txBody>
      </p:sp>
      <p:pic>
        <p:nvPicPr>
          <p:cNvPr id="5" name="Imagem 4">
            <a:extLst>
              <a:ext uri="{FF2B5EF4-FFF2-40B4-BE49-F238E27FC236}">
                <a16:creationId xmlns:a16="http://schemas.microsoft.com/office/drawing/2014/main" id="{DC7ABE79-DBBF-4D82-975F-57DD214D6F05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biLevel thresh="7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781" b="97266" l="3046" r="97462">
                        <a14:foregroundMark x1="45685" y1="8984" x2="63959" y2="17188"/>
                        <a14:foregroundMark x1="54822" y1="15234" x2="37056" y2="18750"/>
                        <a14:foregroundMark x1="37056" y1="18750" x2="52792" y2="14844"/>
                        <a14:foregroundMark x1="52792" y1="14844" x2="49746" y2="22656"/>
                        <a14:foregroundMark x1="49746" y1="22656" x2="44162" y2="14453"/>
                        <a14:foregroundMark x1="44162" y1="14453" x2="52792" y2="8594"/>
                        <a14:foregroundMark x1="52792" y1="8594" x2="68528" y2="7813"/>
                        <a14:foregroundMark x1="68528" y1="7813" x2="77665" y2="10156"/>
                        <a14:foregroundMark x1="77665" y1="10156" x2="72081" y2="19531"/>
                        <a14:foregroundMark x1="72081" y1="19531" x2="79695" y2="12891"/>
                        <a14:foregroundMark x1="79695" y1="12891" x2="86294" y2="21094"/>
                        <a14:foregroundMark x1="86294" y1="21094" x2="85279" y2="28516"/>
                        <a14:foregroundMark x1="85279" y1="28516" x2="90355" y2="35156"/>
                        <a14:foregroundMark x1="90355" y1="35156" x2="92893" y2="41406"/>
                        <a14:foregroundMark x1="4061" y1="25391" x2="4061" y2="25391"/>
                        <a14:foregroundMark x1="3046" y1="26172" x2="3046" y2="26172"/>
                        <a14:foregroundMark x1="18782" y1="16797" x2="26904" y2="12109"/>
                        <a14:foregroundMark x1="26904" y1="12109" x2="36041" y2="10156"/>
                        <a14:foregroundMark x1="36041" y1="10156" x2="21320" y2="15234"/>
                        <a14:foregroundMark x1="19289" y1="8203" x2="40102" y2="5859"/>
                        <a14:foregroundMark x1="40102" y1="5859" x2="49239" y2="3125"/>
                        <a14:foregroundMark x1="49239" y1="3125" x2="59391" y2="3125"/>
                        <a14:foregroundMark x1="59391" y1="3125" x2="74619" y2="3125"/>
                        <a14:foregroundMark x1="82338" y1="4688" x2="84264" y2="5078"/>
                        <a14:foregroundMark x1="80407" y1="4297" x2="82338" y2="4688"/>
                        <a14:foregroundMark x1="74619" y1="3125" x2="80407" y2="4297"/>
                        <a14:foregroundMark x1="84264" y1="5078" x2="84772" y2="7031"/>
                        <a14:foregroundMark x1="96447" y1="55469" x2="97462" y2="62500"/>
                        <a14:foregroundMark x1="97462" y1="62500" x2="86294" y2="75391"/>
                        <a14:foregroundMark x1="86294" y1="75391" x2="85787" y2="78125"/>
                        <a14:foregroundMark x1="4569" y1="56641" x2="4569" y2="63672"/>
                        <a14:foregroundMark x1="4569" y1="63672" x2="7614" y2="70703"/>
                        <a14:foregroundMark x1="7614" y1="70703" x2="13706" y2="74609"/>
                        <a14:foregroundMark x1="31472" y1="92969" x2="39086" y2="98438"/>
                        <a14:foregroundMark x1="39086" y1="98438" x2="58883" y2="97656"/>
                        <a14:foregroundMark x1="58883" y1="97656" x2="71066" y2="92969"/>
                        <a14:foregroundMark x1="46701" y1="78906" x2="63452" y2="79297"/>
                        <a14:foregroundMark x1="52797" y1="69531" x2="55838" y2="69141"/>
                        <a14:foregroundMark x1="49749" y1="69922" x2="52797" y2="69531"/>
                        <a14:foregroundMark x1="46701" y1="70313" x2="49749" y2="69922"/>
                        <a14:foregroundMark x1="55838" y1="69141" x2="56345" y2="64453"/>
                        <a14:foregroundMark x1="39594" y1="47266" x2="40102" y2="47266"/>
                        <a14:foregroundMark x1="74112" y1="46484" x2="74112" y2="46484"/>
                        <a14:foregroundMark x1="69543" y1="55078" x2="69543" y2="55078"/>
                        <a14:foregroundMark x1="35533" y1="55469" x2="35533" y2="55469"/>
                        <a14:foregroundMark x1="60406" y1="781" x2="60406" y2="781"/>
                        <a14:backgroundMark x1="83756" y1="4297" x2="83756" y2="4297"/>
                        <a14:backgroundMark x1="84772" y1="4688" x2="84772" y2="4688"/>
                        <a14:backgroundMark x1="50254" y1="69922" x2="50254" y2="69922"/>
                        <a14:backgroundMark x1="49239" y1="69922" x2="49239" y2="69922"/>
                        <a14:backgroundMark x1="51777" y1="69531" x2="51777" y2="69531"/>
                        <a14:backgroundMark x1="56853" y1="69922" x2="56853" y2="69922"/>
                        <a14:backgroundMark x1="48223" y1="69922" x2="48223" y2="69922"/>
                        <a14:backgroundMark x1="39594" y1="99219" x2="39594" y2="99219"/>
                        <a14:backgroundMark x1="38579" y1="98828" x2="38579" y2="98828"/>
                        <a14:backgroundMark x1="37563" y1="98438" x2="37563" y2="98438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0425" y="1492135"/>
            <a:ext cx="349497" cy="454169"/>
          </a:xfrm>
          <a:prstGeom prst="rect">
            <a:avLst/>
          </a:prstGeom>
        </p:spPr>
      </p:pic>
      <p:sp>
        <p:nvSpPr>
          <p:cNvPr id="6" name="Texto Explicativo: Linha 5">
            <a:extLst>
              <a:ext uri="{FF2B5EF4-FFF2-40B4-BE49-F238E27FC236}">
                <a16:creationId xmlns:a16="http://schemas.microsoft.com/office/drawing/2014/main" id="{BC29F466-B1F1-498A-AFBA-78CEAD30FE68}"/>
              </a:ext>
            </a:extLst>
          </p:cNvPr>
          <p:cNvSpPr/>
          <p:nvPr/>
        </p:nvSpPr>
        <p:spPr>
          <a:xfrm>
            <a:off x="4774719" y="1287868"/>
            <a:ext cx="4162649" cy="1283882"/>
          </a:xfrm>
          <a:prstGeom prst="borderCallout1">
            <a:avLst>
              <a:gd name="adj1" fmla="val 48564"/>
              <a:gd name="adj2" fmla="val -4501"/>
              <a:gd name="adj3" fmla="val 47783"/>
              <a:gd name="adj4" fmla="val -84268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14313" indent="-214313">
              <a:buFont typeface="Wingdings" panose="05000000000000000000" pitchFamily="2" charset="2"/>
              <a:buChar char="§"/>
              <a:defRPr/>
            </a:pPr>
            <a:r>
              <a:rPr lang="pt-BR" sz="1050" dirty="0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/>
              </a:rPr>
              <a:t>Otimização do tempo de entrega;</a:t>
            </a:r>
          </a:p>
          <a:p>
            <a:pPr marL="214313" indent="-214313">
              <a:buFont typeface="Wingdings" panose="05000000000000000000" pitchFamily="2" charset="2"/>
              <a:buChar char="§"/>
              <a:defRPr/>
            </a:pPr>
            <a:r>
              <a:rPr lang="pt-BR" sz="1050" dirty="0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/>
              </a:rPr>
              <a:t>Redução de desperdício com testes manuais;</a:t>
            </a:r>
          </a:p>
          <a:p>
            <a:pPr marL="214313" indent="-214313">
              <a:buFont typeface="Wingdings" panose="05000000000000000000" pitchFamily="2" charset="2"/>
              <a:buChar char="§"/>
              <a:defRPr/>
            </a:pPr>
            <a:r>
              <a:rPr lang="pt-BR" sz="1050" dirty="0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/>
              </a:rPr>
              <a:t>Menor número de incidentes na reta final das releases;</a:t>
            </a:r>
          </a:p>
          <a:p>
            <a:pPr marL="214313" indent="-214313">
              <a:buFont typeface="Wingdings" panose="05000000000000000000" pitchFamily="2" charset="2"/>
              <a:buChar char="§"/>
              <a:defRPr/>
            </a:pPr>
            <a:r>
              <a:rPr lang="pt-BR" sz="1050" dirty="0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/>
              </a:rPr>
              <a:t>Melhorar continuamente os processos de qualidade da </a:t>
            </a:r>
            <a:r>
              <a:rPr lang="pt-BR" sz="1050" dirty="0" err="1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/>
              </a:rPr>
              <a:t>Squad</a:t>
            </a:r>
            <a:r>
              <a:rPr lang="pt-BR" sz="1050" dirty="0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/>
              </a:rPr>
              <a:t>;</a:t>
            </a:r>
          </a:p>
          <a:p>
            <a:pPr marL="214313" indent="-214313">
              <a:buFont typeface="Wingdings" panose="05000000000000000000" pitchFamily="2" charset="2"/>
              <a:buChar char="§"/>
              <a:defRPr/>
            </a:pPr>
            <a:r>
              <a:rPr lang="pt-BR" sz="1050" dirty="0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/>
              </a:rPr>
              <a:t>Identificar e antecipar cenários críticos em tempo de construção;</a:t>
            </a:r>
          </a:p>
          <a:p>
            <a:pPr marL="214313" indent="-214313">
              <a:buFont typeface="Wingdings" panose="05000000000000000000" pitchFamily="2" charset="2"/>
              <a:buChar char="§"/>
              <a:defRPr/>
            </a:pPr>
            <a:r>
              <a:rPr lang="pt-BR" sz="1050" dirty="0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/>
              </a:rPr>
              <a:t>Manter as métricas e indicadores de qualidade acessíveis;</a:t>
            </a:r>
          </a:p>
          <a:p>
            <a:pPr marL="214313" indent="-214313">
              <a:buFont typeface="Wingdings" panose="05000000000000000000" pitchFamily="2" charset="2"/>
              <a:buChar char="§"/>
              <a:defRPr/>
            </a:pPr>
            <a:r>
              <a:rPr lang="pt-BR" sz="1050" dirty="0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/>
              </a:rPr>
              <a:t>Estratégia de testes integrados e automatização de regressivos.</a:t>
            </a:r>
          </a:p>
        </p:txBody>
      </p:sp>
      <p:sp>
        <p:nvSpPr>
          <p:cNvPr id="7" name="CaixaDeTexto 6">
            <a:extLst>
              <a:ext uri="{FF2B5EF4-FFF2-40B4-BE49-F238E27FC236}">
                <a16:creationId xmlns:a16="http://schemas.microsoft.com/office/drawing/2014/main" id="{4E8A9E7A-3DE2-4193-B97A-B73888D01597}"/>
              </a:ext>
            </a:extLst>
          </p:cNvPr>
          <p:cNvSpPr txBox="1"/>
          <p:nvPr/>
        </p:nvSpPr>
        <p:spPr>
          <a:xfrm flipH="1">
            <a:off x="1257014" y="1946303"/>
            <a:ext cx="3314984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pt-BR" sz="1050" dirty="0">
                <a:solidFill>
                  <a:prstClr val="white">
                    <a:lumMod val="50000"/>
                  </a:prstClr>
                </a:solidFill>
                <a:latin typeface="Calibri" panose="020F0502020204030204"/>
              </a:rPr>
              <a:t>Trabalhar a prevenção de defeitos, mais que procurar defeitos.</a:t>
            </a:r>
          </a:p>
        </p:txBody>
      </p:sp>
      <p:sp>
        <p:nvSpPr>
          <p:cNvPr id="8" name="Retângulo 7">
            <a:extLst>
              <a:ext uri="{FF2B5EF4-FFF2-40B4-BE49-F238E27FC236}">
                <a16:creationId xmlns:a16="http://schemas.microsoft.com/office/drawing/2014/main" id="{B3835CA3-0F80-4A8A-A860-07FB32284A0C}"/>
              </a:ext>
            </a:extLst>
          </p:cNvPr>
          <p:cNvSpPr/>
          <p:nvPr/>
        </p:nvSpPr>
        <p:spPr>
          <a:xfrm>
            <a:off x="1257016" y="1636370"/>
            <a:ext cx="3314984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pt-BR" sz="1050" dirty="0">
                <a:solidFill>
                  <a:prstClr val="white">
                    <a:lumMod val="50000"/>
                  </a:prstClr>
                </a:solidFill>
                <a:latin typeface="Calibri" panose="020F0502020204030204"/>
              </a:rPr>
              <a:t>Garantir a que a </a:t>
            </a:r>
            <a:r>
              <a:rPr lang="pt-BR" sz="1050" dirty="0" err="1">
                <a:solidFill>
                  <a:prstClr val="white">
                    <a:lumMod val="50000"/>
                  </a:prstClr>
                </a:solidFill>
                <a:latin typeface="Calibri" panose="020F0502020204030204"/>
              </a:rPr>
              <a:t>Squad</a:t>
            </a:r>
            <a:r>
              <a:rPr lang="pt-BR" sz="1050" dirty="0">
                <a:solidFill>
                  <a:prstClr val="white">
                    <a:lumMod val="50000"/>
                  </a:prstClr>
                </a:solidFill>
                <a:latin typeface="Calibri" panose="020F0502020204030204"/>
              </a:rPr>
              <a:t> tenha alta qualidade nas entregas.</a:t>
            </a:r>
          </a:p>
        </p:txBody>
      </p:sp>
      <p:sp>
        <p:nvSpPr>
          <p:cNvPr id="9" name="CaixaDeTexto 8">
            <a:extLst>
              <a:ext uri="{FF2B5EF4-FFF2-40B4-BE49-F238E27FC236}">
                <a16:creationId xmlns:a16="http://schemas.microsoft.com/office/drawing/2014/main" id="{94BE4819-E457-4AD6-AEB0-69AAB76D3AF3}"/>
              </a:ext>
            </a:extLst>
          </p:cNvPr>
          <p:cNvSpPr txBox="1"/>
          <p:nvPr/>
        </p:nvSpPr>
        <p:spPr>
          <a:xfrm>
            <a:off x="196713" y="3394578"/>
            <a:ext cx="1017501" cy="415498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pt-BR" sz="1050" dirty="0" err="1">
                <a:solidFill>
                  <a:prstClr val="black"/>
                </a:solidFill>
                <a:latin typeface="Calibri" panose="020F0502020204030204"/>
              </a:rPr>
              <a:t>User</a:t>
            </a:r>
            <a:r>
              <a:rPr lang="pt-BR" sz="1050" dirty="0">
                <a:solidFill>
                  <a:prstClr val="black"/>
                </a:solidFill>
                <a:latin typeface="Calibri" panose="020F0502020204030204"/>
              </a:rPr>
              <a:t> Experience</a:t>
            </a:r>
          </a:p>
        </p:txBody>
      </p:sp>
      <p:pic>
        <p:nvPicPr>
          <p:cNvPr id="10" name="Imagem" descr="Imagem">
            <a:hlinkClick r:id="" action="ppaction://noaction"/>
            <a:extLst>
              <a:ext uri="{FF2B5EF4-FFF2-40B4-BE49-F238E27FC236}">
                <a16:creationId xmlns:a16="http://schemas.microsoft.com/office/drawing/2014/main" id="{01A25FA2-D388-4C44-AEDB-5042988495CD}"/>
              </a:ext>
            </a:extLst>
          </p:cNvPr>
          <p:cNvPicPr>
            <a:picLocks noChangeAspect="1"/>
          </p:cNvPicPr>
          <p:nvPr/>
        </p:nvPicPr>
        <p:blipFill>
          <a:blip r:embed="rId4">
            <a:duotone>
              <a:prstClr val="black"/>
              <a:schemeClr val="bg1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414593" y="2892736"/>
            <a:ext cx="581741" cy="543890"/>
          </a:xfrm>
          <a:prstGeom prst="rect">
            <a:avLst/>
          </a:prstGeom>
          <a:ln w="12700" cap="flat">
            <a:noFill/>
            <a:miter lim="400000"/>
          </a:ln>
          <a:effectLst/>
        </p:spPr>
      </p:pic>
      <p:sp>
        <p:nvSpPr>
          <p:cNvPr id="11" name="Texto Explicativo: Linha 10">
            <a:extLst>
              <a:ext uri="{FF2B5EF4-FFF2-40B4-BE49-F238E27FC236}">
                <a16:creationId xmlns:a16="http://schemas.microsoft.com/office/drawing/2014/main" id="{4A86D756-048E-4B1F-9B47-EDCD823BC65C}"/>
              </a:ext>
            </a:extLst>
          </p:cNvPr>
          <p:cNvSpPr/>
          <p:nvPr/>
        </p:nvSpPr>
        <p:spPr>
          <a:xfrm>
            <a:off x="4777375" y="2713060"/>
            <a:ext cx="4162649" cy="1283882"/>
          </a:xfrm>
          <a:prstGeom prst="borderCallout1">
            <a:avLst>
              <a:gd name="adj1" fmla="val 48564"/>
              <a:gd name="adj2" fmla="val -4501"/>
              <a:gd name="adj3" fmla="val 47783"/>
              <a:gd name="adj4" fmla="val -84268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14313" indent="-214313">
              <a:buFont typeface="Wingdings" panose="05000000000000000000" pitchFamily="2" charset="2"/>
              <a:buChar char="§"/>
              <a:defRPr/>
            </a:pPr>
            <a:r>
              <a:rPr lang="pt-BR" sz="1050" dirty="0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/>
              </a:rPr>
              <a:t>Produtos mais competitivos;</a:t>
            </a:r>
          </a:p>
          <a:p>
            <a:pPr marL="214313" indent="-214313">
              <a:buFont typeface="Wingdings" panose="05000000000000000000" pitchFamily="2" charset="2"/>
              <a:buChar char="§"/>
              <a:defRPr/>
            </a:pPr>
            <a:r>
              <a:rPr lang="pt-BR" sz="1050" dirty="0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/>
              </a:rPr>
              <a:t>Menos retoque no produto final;</a:t>
            </a:r>
          </a:p>
          <a:p>
            <a:pPr marL="214313" indent="-214313">
              <a:buFont typeface="Wingdings" panose="05000000000000000000" pitchFamily="2" charset="2"/>
              <a:buChar char="§"/>
              <a:defRPr/>
            </a:pPr>
            <a:r>
              <a:rPr lang="pt-BR" sz="1050" dirty="0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/>
              </a:rPr>
              <a:t>Redução no tempo e custo de manutenção;</a:t>
            </a:r>
          </a:p>
          <a:p>
            <a:pPr marL="214313" indent="-214313">
              <a:buFont typeface="Wingdings" panose="05000000000000000000" pitchFamily="2" charset="2"/>
              <a:buChar char="§"/>
              <a:defRPr/>
            </a:pPr>
            <a:r>
              <a:rPr lang="pt-BR" sz="1050" dirty="0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/>
              </a:rPr>
              <a:t>Reflexo na reputação do produto e da empresa;</a:t>
            </a:r>
          </a:p>
          <a:p>
            <a:pPr marL="214313" indent="-214313">
              <a:buFont typeface="Wingdings" panose="05000000000000000000" pitchFamily="2" charset="2"/>
              <a:buChar char="§"/>
              <a:defRPr/>
            </a:pPr>
            <a:r>
              <a:rPr lang="pt-BR" sz="1050" dirty="0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/>
              </a:rPr>
              <a:t>Menor risco de fugir do escopo (desperdícios);</a:t>
            </a:r>
          </a:p>
          <a:p>
            <a:pPr marL="214313" indent="-214313">
              <a:buFont typeface="Wingdings" panose="05000000000000000000" pitchFamily="2" charset="2"/>
              <a:buChar char="§"/>
              <a:defRPr/>
            </a:pPr>
            <a:r>
              <a:rPr lang="pt-BR" sz="1050" dirty="0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/>
              </a:rPr>
              <a:t>Produtos aderentes às habilidades e necessidades dos usuários;</a:t>
            </a:r>
          </a:p>
        </p:txBody>
      </p:sp>
      <p:sp>
        <p:nvSpPr>
          <p:cNvPr id="12" name="CaixaDeTexto 11">
            <a:extLst>
              <a:ext uri="{FF2B5EF4-FFF2-40B4-BE49-F238E27FC236}">
                <a16:creationId xmlns:a16="http://schemas.microsoft.com/office/drawing/2014/main" id="{7D3E467A-8040-443E-888D-D3C9C64721EC}"/>
              </a:ext>
            </a:extLst>
          </p:cNvPr>
          <p:cNvSpPr txBox="1"/>
          <p:nvPr/>
        </p:nvSpPr>
        <p:spPr>
          <a:xfrm flipH="1">
            <a:off x="1259670" y="3371495"/>
            <a:ext cx="3314984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pt-BR" sz="1050" dirty="0">
                <a:solidFill>
                  <a:prstClr val="white">
                    <a:lumMod val="50000"/>
                  </a:prstClr>
                </a:solidFill>
                <a:latin typeface="Calibri" panose="020F0502020204030204"/>
              </a:rPr>
              <a:t>Desenvolvimento guiado pela visão do cliente.</a:t>
            </a:r>
          </a:p>
        </p:txBody>
      </p:sp>
      <p:sp>
        <p:nvSpPr>
          <p:cNvPr id="13" name="Retângulo 12">
            <a:extLst>
              <a:ext uri="{FF2B5EF4-FFF2-40B4-BE49-F238E27FC236}">
                <a16:creationId xmlns:a16="http://schemas.microsoft.com/office/drawing/2014/main" id="{337BD675-0044-4D5A-96AE-058BCD333B1B}"/>
              </a:ext>
            </a:extLst>
          </p:cNvPr>
          <p:cNvSpPr/>
          <p:nvPr/>
        </p:nvSpPr>
        <p:spPr>
          <a:xfrm>
            <a:off x="1257014" y="2943131"/>
            <a:ext cx="3314984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pt-BR" sz="1050" dirty="0">
                <a:solidFill>
                  <a:prstClr val="white">
                    <a:lumMod val="50000"/>
                  </a:prstClr>
                </a:solidFill>
                <a:latin typeface="Calibri" panose="020F0502020204030204"/>
              </a:rPr>
              <a:t>Garantir que a visão do usuário será relevante durante todo o processo de criação.</a:t>
            </a:r>
          </a:p>
        </p:txBody>
      </p:sp>
    </p:spTree>
    <p:extLst>
      <p:ext uri="{BB962C8B-B14F-4D97-AF65-F5344CB8AC3E}">
        <p14:creationId xmlns:p14="http://schemas.microsoft.com/office/powerpoint/2010/main" val="21690233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ela 4">
            <a:extLst>
              <a:ext uri="{FF2B5EF4-FFF2-40B4-BE49-F238E27FC236}">
                <a16:creationId xmlns:a16="http://schemas.microsoft.com/office/drawing/2014/main" id="{C2CFB3A1-FD1B-4912-B0C3-47DF845D97D3}"/>
              </a:ext>
            </a:extLst>
          </p:cNvPr>
          <p:cNvGraphicFramePr>
            <a:graphicFrameLocks noGrp="1"/>
          </p:cNvGraphicFramePr>
          <p:nvPr/>
        </p:nvGraphicFramePr>
        <p:xfrm>
          <a:off x="44728" y="556839"/>
          <a:ext cx="8878127" cy="4827197"/>
        </p:xfrm>
        <a:graphic>
          <a:graphicData uri="http://schemas.openxmlformats.org/drawingml/2006/table">
            <a:tbl>
              <a:tblPr/>
              <a:tblGrid>
                <a:gridCol w="1169948">
                  <a:extLst>
                    <a:ext uri="{9D8B030D-6E8A-4147-A177-3AD203B41FA5}">
                      <a16:colId xmlns:a16="http://schemas.microsoft.com/office/drawing/2014/main" val="947739621"/>
                    </a:ext>
                  </a:extLst>
                </a:gridCol>
                <a:gridCol w="2013057">
                  <a:extLst>
                    <a:ext uri="{9D8B030D-6E8A-4147-A177-3AD203B41FA5}">
                      <a16:colId xmlns:a16="http://schemas.microsoft.com/office/drawing/2014/main" val="1742828485"/>
                    </a:ext>
                  </a:extLst>
                </a:gridCol>
                <a:gridCol w="5054048">
                  <a:extLst>
                    <a:ext uri="{9D8B030D-6E8A-4147-A177-3AD203B41FA5}">
                      <a16:colId xmlns:a16="http://schemas.microsoft.com/office/drawing/2014/main" val="3378098091"/>
                    </a:ext>
                  </a:extLst>
                </a:gridCol>
                <a:gridCol w="641074">
                  <a:extLst>
                    <a:ext uri="{9D8B030D-6E8A-4147-A177-3AD203B41FA5}">
                      <a16:colId xmlns:a16="http://schemas.microsoft.com/office/drawing/2014/main" val="1497489458"/>
                    </a:ext>
                  </a:extLst>
                </a:gridCol>
              </a:tblGrid>
              <a:tr h="163483"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463" marR="3463" marT="3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PROJETO</a:t>
                      </a:r>
                    </a:p>
                  </a:txBody>
                  <a:tcPr marL="3463" marR="3463" marT="3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DESCRIÇÃO</a:t>
                      </a:r>
                    </a:p>
                  </a:txBody>
                  <a:tcPr marL="3463" marR="3463" marT="3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PREVISÃO</a:t>
                      </a:r>
                    </a:p>
                  </a:txBody>
                  <a:tcPr marL="3463" marR="3463" marT="3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95683482"/>
                  </a:ext>
                </a:extLst>
              </a:tr>
              <a:tr h="163483">
                <a:tc rowSpan="10">
                  <a:txBody>
                    <a:bodyPr/>
                    <a:lstStyle/>
                    <a:p>
                      <a:pPr algn="ctr" rtl="0" fontAlgn="ctr"/>
                      <a:r>
                        <a:rPr lang="pt-BR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IGITAIS</a:t>
                      </a:r>
                    </a:p>
                  </a:txBody>
                  <a:tcPr marL="3463" marR="3463" marT="3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oja Digital - </a:t>
                      </a:r>
                      <a:r>
                        <a:rPr lang="pt-BR" sz="10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tex</a:t>
                      </a:r>
                      <a:endParaRPr lang="pt-BR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63" marR="3463" marT="3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elhorias no processo de contratação da loja digital </a:t>
                      </a:r>
                    </a:p>
                  </a:txBody>
                  <a:tcPr marL="3463" marR="3463" marT="3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br</a:t>
                      </a:r>
                      <a:endParaRPr lang="pt-B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63" marR="3463" marT="3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39734217"/>
                  </a:ext>
                </a:extLst>
              </a:tr>
              <a:tr h="163483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nk de pagamento</a:t>
                      </a:r>
                    </a:p>
                  </a:txBody>
                  <a:tcPr marL="3463" marR="3463" marT="3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ermitir que  clientes sem  loja virtual realizem vendas com cartão não presente</a:t>
                      </a:r>
                    </a:p>
                  </a:txBody>
                  <a:tcPr marL="3463" marR="3463" marT="3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i</a:t>
                      </a:r>
                    </a:p>
                  </a:txBody>
                  <a:tcPr marL="3463" marR="3463" marT="3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01596311"/>
                  </a:ext>
                </a:extLst>
              </a:tr>
              <a:tr h="163483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rona Voucher</a:t>
                      </a:r>
                    </a:p>
                  </a:txBody>
                  <a:tcPr marL="3463" marR="3463" marT="3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redito do Governo Federal para pessoas vulneráveis devido a crise COVID-19 (Caixa Federal)</a:t>
                      </a:r>
                    </a:p>
                  </a:txBody>
                  <a:tcPr marL="3463" marR="3463" marT="3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i</a:t>
                      </a:r>
                    </a:p>
                  </a:txBody>
                  <a:tcPr marL="3463" marR="3463" marT="3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2275304"/>
                  </a:ext>
                </a:extLst>
              </a:tr>
              <a:tr h="163483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0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ashback</a:t>
                      </a:r>
                      <a:endParaRPr lang="pt-BR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63" marR="3463" marT="3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9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ashback</a:t>
                      </a:r>
                      <a:r>
                        <a:rPr lang="pt-B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de valor pago mediante contrapartida de faturamento</a:t>
                      </a:r>
                    </a:p>
                  </a:txBody>
                  <a:tcPr marL="3463" marR="3463" marT="3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un</a:t>
                      </a:r>
                    </a:p>
                  </a:txBody>
                  <a:tcPr marL="3463" marR="3463" marT="3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51623601"/>
                  </a:ext>
                </a:extLst>
              </a:tr>
              <a:tr h="163483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va Loja Digital - </a:t>
                      </a:r>
                      <a:r>
                        <a:rPr lang="pt-BR" sz="10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inestore</a:t>
                      </a:r>
                      <a:endParaRPr lang="pt-BR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63" marR="3463" marT="3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va Loja Digital</a:t>
                      </a:r>
                    </a:p>
                  </a:txBody>
                  <a:tcPr marL="3463" marR="3463" marT="3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un </a:t>
                      </a:r>
                    </a:p>
                  </a:txBody>
                  <a:tcPr marL="3463" marR="3463" marT="3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19543160"/>
                  </a:ext>
                </a:extLst>
              </a:tr>
              <a:tr h="163483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QRCODE</a:t>
                      </a:r>
                    </a:p>
                  </a:txBody>
                  <a:tcPr marL="3463" marR="3463" marT="3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QRCODE na </a:t>
                      </a:r>
                      <a:r>
                        <a:rPr lang="pt-BR" sz="9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uttar</a:t>
                      </a:r>
                      <a:r>
                        <a:rPr lang="pt-B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/e-commerce</a:t>
                      </a:r>
                    </a:p>
                  </a:txBody>
                  <a:tcPr marL="3463" marR="3463" marT="3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un/jul</a:t>
                      </a:r>
                    </a:p>
                  </a:txBody>
                  <a:tcPr marL="3463" marR="3463" marT="3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4899674"/>
                  </a:ext>
                </a:extLst>
              </a:tr>
              <a:tr h="163483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lutuação na </a:t>
                      </a:r>
                      <a:r>
                        <a:rPr lang="pt-BR" sz="10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correncia</a:t>
                      </a:r>
                      <a:endParaRPr lang="pt-BR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63" marR="3463" marT="3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teração de data/valor nas parcelas de recorrência</a:t>
                      </a:r>
                    </a:p>
                  </a:txBody>
                  <a:tcPr marL="3463" marR="3463" marT="3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go</a:t>
                      </a:r>
                    </a:p>
                  </a:txBody>
                  <a:tcPr marL="3463" marR="3463" marT="3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78325263"/>
                  </a:ext>
                </a:extLst>
              </a:tr>
              <a:tr h="206231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piloto Santander</a:t>
                      </a:r>
                    </a:p>
                  </a:txBody>
                  <a:tcPr marL="3463" marR="3463" marT="3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utomatizar processo de credenciamento e habilitação originadas de área logada do parceiro </a:t>
                      </a:r>
                      <a:r>
                        <a:rPr lang="pt-BR" sz="9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rketUP</a:t>
                      </a:r>
                      <a:endParaRPr lang="pt-BR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63" marR="3463" marT="3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ul</a:t>
                      </a:r>
                    </a:p>
                  </a:txBody>
                  <a:tcPr marL="3463" marR="3463" marT="3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67519256"/>
                  </a:ext>
                </a:extLst>
              </a:tr>
              <a:tr h="163483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plit de Pagamento</a:t>
                      </a:r>
                    </a:p>
                  </a:txBody>
                  <a:tcPr marL="3463" marR="3463" marT="3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mplantação de Dashboard, Portal de gestão das transações de Split de Pagamento para os </a:t>
                      </a:r>
                      <a:r>
                        <a:rPr lang="pt-BR" sz="9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llers</a:t>
                      </a:r>
                      <a:endParaRPr lang="pt-BR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63" marR="3463" marT="3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ul</a:t>
                      </a:r>
                    </a:p>
                  </a:txBody>
                  <a:tcPr marL="3463" marR="3463" marT="3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6395279"/>
                  </a:ext>
                </a:extLst>
              </a:tr>
              <a:tr h="206231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0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mazon</a:t>
                      </a:r>
                      <a:endParaRPr lang="pt-BR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63" marR="3463" marT="3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ustomização nos processos transacionais, operacionais e conciliação para atender a necessidade do cliente</a:t>
                      </a:r>
                    </a:p>
                  </a:txBody>
                  <a:tcPr marL="3463" marR="3463" marT="3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tri</a:t>
                      </a:r>
                    </a:p>
                  </a:txBody>
                  <a:tcPr marL="3463" marR="3463" marT="3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92322841"/>
                  </a:ext>
                </a:extLst>
              </a:tr>
              <a:tr h="163483"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463" marR="3463" marT="3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463" marR="3463" marT="3463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463" marR="3463" marT="3463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463" marR="3463" marT="3463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4606596"/>
                  </a:ext>
                </a:extLst>
              </a:tr>
              <a:tr h="163483">
                <a:tc rowSpan="7">
                  <a:txBody>
                    <a:bodyPr/>
                    <a:lstStyle/>
                    <a:p>
                      <a:pPr algn="ctr" rtl="0" fontAlgn="ctr"/>
                      <a:r>
                        <a:rPr lang="pt-BR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 FATURAMENTO</a:t>
                      </a:r>
                    </a:p>
                  </a:txBody>
                  <a:tcPr marL="3463" marR="3463" marT="3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nta Digital</a:t>
                      </a:r>
                    </a:p>
                  </a:txBody>
                  <a:tcPr marL="3463" marR="3463" marT="3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nta individualizada através do APP </a:t>
                      </a:r>
                      <a:r>
                        <a:rPr lang="pt-BR" sz="9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etpay</a:t>
                      </a:r>
                      <a:endParaRPr lang="pt-BR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63" marR="3463" marT="3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br</a:t>
                      </a:r>
                    </a:p>
                  </a:txBody>
                  <a:tcPr marL="3463" marR="3463" marT="3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31657865"/>
                  </a:ext>
                </a:extLst>
              </a:tr>
              <a:tr h="163483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etpay</a:t>
                      </a:r>
                    </a:p>
                  </a:txBody>
                  <a:tcPr marL="3463" marR="3463" marT="3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enda com QRCODE, </a:t>
                      </a:r>
                      <a:r>
                        <a:rPr lang="pt-BR" sz="9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ransferencia</a:t>
                      </a:r>
                      <a:r>
                        <a:rPr lang="pt-B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entre contas, unificação </a:t>
                      </a:r>
                      <a:r>
                        <a:rPr lang="pt-BR" sz="9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PPs</a:t>
                      </a:r>
                      <a:endParaRPr lang="pt-BR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63" marR="3463" marT="3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br</a:t>
                      </a:r>
                    </a:p>
                  </a:txBody>
                  <a:tcPr marL="3463" marR="3463" marT="3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2321332"/>
                  </a:ext>
                </a:extLst>
              </a:tr>
              <a:tr h="163483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0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mprestimo</a:t>
                      </a:r>
                      <a:r>
                        <a:rPr lang="pt-B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</a:p>
                  </a:txBody>
                  <a:tcPr marL="3463" marR="3463" marT="3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ntratação de empréstimo via POS, APP e </a:t>
                      </a:r>
                      <a:r>
                        <a:rPr lang="pt-BR" sz="9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allcenter</a:t>
                      </a:r>
                      <a:r>
                        <a:rPr lang="pt-B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Tesouro)</a:t>
                      </a:r>
                    </a:p>
                  </a:txBody>
                  <a:tcPr marL="3463" marR="3463" marT="3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i</a:t>
                      </a:r>
                    </a:p>
                  </a:txBody>
                  <a:tcPr marL="3463" marR="3463" marT="3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94232315"/>
                  </a:ext>
                </a:extLst>
              </a:tr>
              <a:tr h="163483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ubadquirentes</a:t>
                      </a:r>
                    </a:p>
                  </a:txBody>
                  <a:tcPr marL="3463" marR="3463" marT="3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ntrada de novos </a:t>
                      </a:r>
                      <a:r>
                        <a:rPr lang="pt-BR" sz="9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udadquirentes</a:t>
                      </a:r>
                      <a:r>
                        <a:rPr lang="pt-B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</a:t>
                      </a:r>
                      <a:r>
                        <a:rPr lang="pt-BR" sz="9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ygo</a:t>
                      </a:r>
                      <a:r>
                        <a:rPr lang="pt-B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, </a:t>
                      </a:r>
                      <a:r>
                        <a:rPr lang="pt-BR" sz="9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ercadoPago</a:t>
                      </a:r>
                      <a:r>
                        <a:rPr lang="pt-B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, </a:t>
                      </a:r>
                      <a:r>
                        <a:rPr lang="pt-BR" sz="9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banx</a:t>
                      </a:r>
                      <a:r>
                        <a:rPr lang="pt-B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)</a:t>
                      </a:r>
                    </a:p>
                  </a:txBody>
                  <a:tcPr marL="3463" marR="3463" marT="3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un</a:t>
                      </a:r>
                    </a:p>
                  </a:txBody>
                  <a:tcPr marL="3463" marR="3463" marT="3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28684483"/>
                  </a:ext>
                </a:extLst>
              </a:tr>
              <a:tr h="163483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allets</a:t>
                      </a:r>
                    </a:p>
                  </a:txBody>
                  <a:tcPr marL="3463" marR="3463" marT="3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ntrada de novas wallets (AME, </a:t>
                      </a:r>
                      <a:r>
                        <a:rPr lang="pt-BR" sz="9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food</a:t>
                      </a:r>
                      <a:r>
                        <a:rPr lang="pt-B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, </a:t>
                      </a:r>
                      <a:r>
                        <a:rPr lang="pt-BR" sz="9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appiPay</a:t>
                      </a:r>
                      <a:r>
                        <a:rPr lang="pt-B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, </a:t>
                      </a:r>
                      <a:r>
                        <a:rPr lang="pt-BR" sz="9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yly</a:t>
                      </a:r>
                      <a:r>
                        <a:rPr lang="pt-B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, Esfera, </a:t>
                      </a:r>
                      <a:r>
                        <a:rPr lang="pt-BR" sz="9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galuPay</a:t>
                      </a:r>
                      <a:r>
                        <a:rPr lang="pt-B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)</a:t>
                      </a:r>
                    </a:p>
                  </a:txBody>
                  <a:tcPr marL="3463" marR="3463" marT="3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sem</a:t>
                      </a:r>
                    </a:p>
                  </a:txBody>
                  <a:tcPr marL="3463" marR="3463" marT="3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40612563"/>
                  </a:ext>
                </a:extLst>
              </a:tr>
              <a:tr h="163483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ntecipação</a:t>
                      </a:r>
                    </a:p>
                  </a:txBody>
                  <a:tcPr marL="3463" marR="3463" marT="3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va Plataforma de Antecipação de Recebíveis </a:t>
                      </a:r>
                      <a:r>
                        <a:rPr lang="pt-BR" sz="9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etnet</a:t>
                      </a:r>
                      <a:r>
                        <a:rPr lang="pt-B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 </a:t>
                      </a:r>
                    </a:p>
                  </a:txBody>
                  <a:tcPr marL="3463" marR="3463" marT="3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go</a:t>
                      </a:r>
                    </a:p>
                  </a:txBody>
                  <a:tcPr marL="3463" marR="3463" marT="3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3632060"/>
                  </a:ext>
                </a:extLst>
              </a:tr>
              <a:tr h="163483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gamento </a:t>
                      </a:r>
                      <a:r>
                        <a:rPr lang="pt-BR" sz="10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stantaneo</a:t>
                      </a:r>
                      <a:r>
                        <a:rPr lang="pt-B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/PIX</a:t>
                      </a:r>
                    </a:p>
                  </a:txBody>
                  <a:tcPr marL="3463" marR="3463" marT="3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olução para transferência monetária em tempo real 24X7</a:t>
                      </a:r>
                    </a:p>
                  </a:txBody>
                  <a:tcPr marL="3463" marR="3463" marT="3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ut</a:t>
                      </a:r>
                    </a:p>
                  </a:txBody>
                  <a:tcPr marL="3463" marR="3463" marT="3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56874880"/>
                  </a:ext>
                </a:extLst>
              </a:tr>
              <a:tr h="163483"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463" marR="3463" marT="3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463" marR="3463" marT="3463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463" marR="3463" marT="3463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463" marR="3463" marT="3463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67155987"/>
                  </a:ext>
                </a:extLst>
              </a:tr>
              <a:tr h="163483">
                <a:tc rowSpan="7">
                  <a:txBody>
                    <a:bodyPr/>
                    <a:lstStyle/>
                    <a:p>
                      <a:pPr algn="ctr" rtl="0" fontAlgn="ctr"/>
                      <a:r>
                        <a:rPr lang="pt-BR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 EFICIENCIA</a:t>
                      </a:r>
                    </a:p>
                  </a:txBody>
                  <a:tcPr marL="3463" marR="3463" marT="3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ip </a:t>
                      </a:r>
                      <a:r>
                        <a:rPr lang="pt-BR" sz="10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ultioperadora</a:t>
                      </a:r>
                      <a:endParaRPr lang="pt-BR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63" marR="3463" marT="3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tilização de chip </a:t>
                      </a:r>
                      <a:r>
                        <a:rPr lang="pt-BR" sz="9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ultioperadora</a:t>
                      </a:r>
                      <a:r>
                        <a:rPr lang="pt-B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para melhorar conectividade</a:t>
                      </a:r>
                    </a:p>
                  </a:txBody>
                  <a:tcPr marL="3463" marR="3463" marT="3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i</a:t>
                      </a:r>
                    </a:p>
                  </a:txBody>
                  <a:tcPr marL="3463" marR="3463" marT="3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41041431"/>
                  </a:ext>
                </a:extLst>
              </a:tr>
              <a:tr h="163483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vo comprovante de Vendas</a:t>
                      </a:r>
                    </a:p>
                  </a:txBody>
                  <a:tcPr marL="3463" marR="3463" marT="3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implificação do Comprovante de Vendas com redução de 25% no consumo de bobinas</a:t>
                      </a:r>
                    </a:p>
                  </a:txBody>
                  <a:tcPr marL="3463" marR="3463" marT="3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go</a:t>
                      </a:r>
                    </a:p>
                  </a:txBody>
                  <a:tcPr marL="3463" marR="3463" marT="3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73236486"/>
                  </a:ext>
                </a:extLst>
              </a:tr>
              <a:tr h="163483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ataforma de Ofertas - Canais Digitais</a:t>
                      </a:r>
                    </a:p>
                  </a:txBody>
                  <a:tcPr marL="3463" marR="3463" marT="3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tegrar as Ofertas da Plataforma no APP e Credenciamento Digital</a:t>
                      </a:r>
                    </a:p>
                  </a:txBody>
                  <a:tcPr marL="3463" marR="3463" marT="3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t</a:t>
                      </a:r>
                    </a:p>
                  </a:txBody>
                  <a:tcPr marL="3463" marR="3463" marT="3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0829725"/>
                  </a:ext>
                </a:extLst>
              </a:tr>
              <a:tr h="163483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racking</a:t>
                      </a:r>
                    </a:p>
                  </a:txBody>
                  <a:tcPr marL="3463" marR="3463" marT="3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vo Acompanhamento de Pedidos</a:t>
                      </a:r>
                    </a:p>
                  </a:txBody>
                  <a:tcPr marL="3463" marR="3463" marT="3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ut</a:t>
                      </a:r>
                    </a:p>
                  </a:txBody>
                  <a:tcPr marL="3463" marR="3463" marT="3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60816324"/>
                  </a:ext>
                </a:extLst>
              </a:tr>
              <a:tr h="163483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áximo </a:t>
                      </a:r>
                    </a:p>
                  </a:txBody>
                  <a:tcPr marL="3463" marR="3463" marT="3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istema Integrado para Rastreabilidade de Estoque</a:t>
                      </a:r>
                    </a:p>
                  </a:txBody>
                  <a:tcPr marL="3463" marR="3463" marT="3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v</a:t>
                      </a:r>
                    </a:p>
                  </a:txBody>
                  <a:tcPr marL="3463" marR="3463" marT="3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03552004"/>
                  </a:ext>
                </a:extLst>
              </a:tr>
              <a:tr h="163483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RP </a:t>
                      </a:r>
                      <a:r>
                        <a:rPr lang="pt-BR" sz="10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ogistica</a:t>
                      </a:r>
                      <a:endParaRPr lang="pt-BR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63" marR="3463" marT="3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vo módulo SAP para Sistema de Planejamento de Demanda logística</a:t>
                      </a:r>
                    </a:p>
                  </a:txBody>
                  <a:tcPr marL="3463" marR="3463" marT="3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v</a:t>
                      </a:r>
                    </a:p>
                  </a:txBody>
                  <a:tcPr marL="3463" marR="3463" marT="3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6267931"/>
                  </a:ext>
                </a:extLst>
              </a:tr>
              <a:tr h="163483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ataforma de Faturamento </a:t>
                      </a:r>
                    </a:p>
                  </a:txBody>
                  <a:tcPr marL="3463" marR="3463" marT="3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va Plataforma com faturamento diário, reajuste automático de preços e novos canais de cobrança</a:t>
                      </a:r>
                    </a:p>
                  </a:txBody>
                  <a:tcPr marL="3463" marR="3463" marT="3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v</a:t>
                      </a:r>
                      <a:endParaRPr lang="pt-B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63" marR="3463" marT="3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136598"/>
                  </a:ext>
                </a:extLst>
              </a:tr>
            </a:tbl>
          </a:graphicData>
        </a:graphic>
      </p:graphicFrame>
      <p:sp>
        <p:nvSpPr>
          <p:cNvPr id="8" name="Retângulo 7">
            <a:extLst>
              <a:ext uri="{FF2B5EF4-FFF2-40B4-BE49-F238E27FC236}">
                <a16:creationId xmlns:a16="http://schemas.microsoft.com/office/drawing/2014/main" id="{C72FBA9E-4474-4B7B-859A-E3BE57212D34}"/>
              </a:ext>
            </a:extLst>
          </p:cNvPr>
          <p:cNvSpPr/>
          <p:nvPr/>
        </p:nvSpPr>
        <p:spPr>
          <a:xfrm>
            <a:off x="486307" y="124092"/>
            <a:ext cx="2401619" cy="24820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013" b="1" dirty="0">
                <a:solidFill>
                  <a:srgbClr val="EC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I </a:t>
            </a:r>
            <a:r>
              <a:rPr lang="en-US" sz="1013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– </a:t>
            </a:r>
            <a:r>
              <a:rPr lang="en-US" sz="1013" b="1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rincipais</a:t>
            </a:r>
            <a:r>
              <a:rPr lang="en-US" sz="1013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1013" b="1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rojetos</a:t>
            </a:r>
            <a:r>
              <a:rPr lang="en-US" sz="1013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Plano 100</a:t>
            </a:r>
            <a:endParaRPr lang="en-US" sz="1013" b="1" dirty="0">
              <a:solidFill>
                <a:srgbClr val="EC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44299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1" name="Straight Connector 20"/>
          <p:cNvCxnSpPr/>
          <p:nvPr/>
        </p:nvCxnSpPr>
        <p:spPr>
          <a:xfrm>
            <a:off x="593725" y="2285827"/>
            <a:ext cx="0" cy="571847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22"/>
          <p:cNvSpPr txBox="1"/>
          <p:nvPr/>
        </p:nvSpPr>
        <p:spPr>
          <a:xfrm>
            <a:off x="805226" y="2396926"/>
            <a:ext cx="3618064" cy="33855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0" i="0" u="none" strike="noStrike" kern="1200" cap="all" spc="8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ato Black" panose="020F0A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Agenda</a:t>
            </a:r>
          </a:p>
        </p:txBody>
      </p:sp>
      <p:grpSp>
        <p:nvGrpSpPr>
          <p:cNvPr id="2" name="Group 1"/>
          <p:cNvGrpSpPr/>
          <p:nvPr/>
        </p:nvGrpSpPr>
        <p:grpSpPr>
          <a:xfrm>
            <a:off x="5212841" y="1084709"/>
            <a:ext cx="2241213" cy="2970172"/>
            <a:chOff x="5212841" y="1084709"/>
            <a:chExt cx="2241213" cy="2970172"/>
          </a:xfrm>
        </p:grpSpPr>
        <p:sp>
          <p:nvSpPr>
            <p:cNvPr id="6" name="TextBox 5"/>
            <p:cNvSpPr txBox="1"/>
            <p:nvPr/>
          </p:nvSpPr>
          <p:spPr>
            <a:xfrm>
              <a:off x="5809289" y="1088301"/>
              <a:ext cx="1644765" cy="15600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Lato" panose="020F0502020204030203" pitchFamily="34" charset="0"/>
                  <a:ea typeface="+mn-ea"/>
                  <a:cs typeface="Poppins SemiBold" panose="02000000000000000000" pitchFamily="2" charset="0"/>
                </a:rPr>
                <a:t>Organograma</a:t>
              </a:r>
              <a:endPara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Poppins SemiBold" panose="02000000000000000000" pitchFamily="2" charset="0"/>
              </a:endParaRPr>
            </a:p>
          </p:txBody>
        </p:sp>
        <p:sp>
          <p:nvSpPr>
            <p:cNvPr id="9" name="TextBox 8"/>
            <p:cNvSpPr txBox="1"/>
            <p:nvPr/>
          </p:nvSpPr>
          <p:spPr>
            <a:xfrm>
              <a:off x="5809289" y="1757538"/>
              <a:ext cx="1644765" cy="15600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000" b="1" dirty="0">
                  <a:solidFill>
                    <a:prstClr val="white"/>
                  </a:solidFill>
                  <a:latin typeface="Lato" panose="020F0502020204030203" pitchFamily="34" charset="0"/>
                  <a:cs typeface="Poppins SemiBold" panose="02000000000000000000" pitchFamily="2" charset="0"/>
                </a:rPr>
                <a:t>Macro </a:t>
              </a:r>
              <a:r>
                <a:rPr lang="en-US" sz="1000" b="1" dirty="0" err="1">
                  <a:solidFill>
                    <a:prstClr val="white"/>
                  </a:solidFill>
                  <a:latin typeface="Lato" panose="020F0502020204030203" pitchFamily="34" charset="0"/>
                  <a:cs typeface="Poppins SemiBold" panose="02000000000000000000" pitchFamily="2" charset="0"/>
                </a:rPr>
                <a:t>Processo</a:t>
              </a:r>
              <a:r>
                <a:rPr lang="en-US" sz="1000" b="1" dirty="0">
                  <a:solidFill>
                    <a:prstClr val="white"/>
                  </a:solidFill>
                  <a:latin typeface="Lato" panose="020F0502020204030203" pitchFamily="34" charset="0"/>
                  <a:cs typeface="Poppins SemiBold" panose="02000000000000000000" pitchFamily="2" charset="0"/>
                </a:rPr>
                <a:t> TI</a:t>
              </a:r>
              <a:endPara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Poppins SemiBold" panose="02000000000000000000" pitchFamily="2" charset="0"/>
              </a:endParaRPr>
            </a:p>
          </p:txBody>
        </p:sp>
        <p:sp>
          <p:nvSpPr>
            <p:cNvPr id="12" name="TextBox 11"/>
            <p:cNvSpPr txBox="1"/>
            <p:nvPr/>
          </p:nvSpPr>
          <p:spPr>
            <a:xfrm>
              <a:off x="5809289" y="2411771"/>
              <a:ext cx="1644765" cy="15600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Lato" panose="020F0502020204030203" pitchFamily="34" charset="0"/>
                  <a:ea typeface="+mn-ea"/>
                  <a:cs typeface="Poppins SemiBold" panose="02000000000000000000" pitchFamily="2" charset="0"/>
                </a:rPr>
                <a:t>Perfis</a:t>
              </a:r>
              <a:endPara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Poppins SemiBold" panose="02000000000000000000" pitchFamily="2" charset="0"/>
              </a:endParaRPr>
            </a:p>
          </p:txBody>
        </p:sp>
        <p:sp>
          <p:nvSpPr>
            <p:cNvPr id="15" name="TextBox 14"/>
            <p:cNvSpPr txBox="1"/>
            <p:nvPr/>
          </p:nvSpPr>
          <p:spPr>
            <a:xfrm>
              <a:off x="5809289" y="3066004"/>
              <a:ext cx="1644765" cy="15600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Lato" panose="020F0502020204030203" pitchFamily="34" charset="0"/>
                  <a:ea typeface="+mn-ea"/>
                  <a:cs typeface="Poppins SemiBold" panose="02000000000000000000" pitchFamily="2" charset="0"/>
                </a:rPr>
                <a:t>xxxx</a:t>
              </a:r>
              <a:endPara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Poppins SemiBold" panose="02000000000000000000" pitchFamily="2" charset="0"/>
              </a:endParaRPr>
            </a:p>
          </p:txBody>
        </p:sp>
        <p:sp>
          <p:nvSpPr>
            <p:cNvPr id="18" name="TextBox 17"/>
            <p:cNvSpPr txBox="1"/>
            <p:nvPr/>
          </p:nvSpPr>
          <p:spPr>
            <a:xfrm>
              <a:off x="5809289" y="3720237"/>
              <a:ext cx="1644765" cy="15600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Lato" panose="020F0502020204030203" pitchFamily="34" charset="0"/>
                  <a:ea typeface="+mn-ea"/>
                  <a:cs typeface="Poppins SemiBold" panose="02000000000000000000" pitchFamily="2" charset="0"/>
                </a:rPr>
                <a:t>xxxx</a:t>
              </a:r>
              <a:endPara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Poppins SemiBold" panose="02000000000000000000" pitchFamily="2" charset="0"/>
              </a:endParaRPr>
            </a:p>
          </p:txBody>
        </p:sp>
        <p:grpSp>
          <p:nvGrpSpPr>
            <p:cNvPr id="53" name="Group 52"/>
            <p:cNvGrpSpPr/>
            <p:nvPr/>
          </p:nvGrpSpPr>
          <p:grpSpPr>
            <a:xfrm>
              <a:off x="5212841" y="1084709"/>
              <a:ext cx="345738" cy="345738"/>
              <a:chOff x="4967307" y="1084709"/>
              <a:chExt cx="345738" cy="345738"/>
            </a:xfrm>
          </p:grpSpPr>
          <p:sp>
            <p:nvSpPr>
              <p:cNvPr id="8" name="Oval 7"/>
              <p:cNvSpPr/>
              <p:nvPr/>
            </p:nvSpPr>
            <p:spPr>
              <a:xfrm>
                <a:off x="4967307" y="1084709"/>
                <a:ext cx="345738" cy="345738"/>
              </a:xfrm>
              <a:prstGeom prst="ellipse">
                <a:avLst/>
              </a:prstGeom>
              <a:solidFill>
                <a:schemeClr val="bg1"/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506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7" name="TextBox 6"/>
              <p:cNvSpPr txBox="1"/>
              <p:nvPr/>
            </p:nvSpPr>
            <p:spPr>
              <a:xfrm>
                <a:off x="4979964" y="1165245"/>
                <a:ext cx="320425" cy="184666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ctr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1200" cap="none" spc="20" normalizeH="0" baseline="0" noProof="0" dirty="0">
                    <a:ln>
                      <a:noFill/>
                    </a:ln>
                    <a:solidFill>
                      <a:srgbClr val="EC1C24"/>
                    </a:solidFill>
                    <a:effectLst/>
                    <a:uLnTx/>
                    <a:uFillTx/>
                    <a:latin typeface="Lato" panose="020F0502020204030203" pitchFamily="34" charset="0"/>
                    <a:ea typeface="+mn-ea"/>
                    <a:cs typeface="Poppins SemiBold" panose="02000000000000000000" pitchFamily="2" charset="0"/>
                  </a:rPr>
                  <a:t>01</a:t>
                </a:r>
              </a:p>
            </p:txBody>
          </p:sp>
        </p:grpSp>
        <p:sp>
          <p:nvSpPr>
            <p:cNvPr id="11" name="Oval 10"/>
            <p:cNvSpPr/>
            <p:nvPr/>
          </p:nvSpPr>
          <p:spPr>
            <a:xfrm>
              <a:off x="5212841" y="1740817"/>
              <a:ext cx="345738" cy="345738"/>
            </a:xfrm>
            <a:prstGeom prst="ellipse">
              <a:avLst/>
            </a:prstGeom>
            <a:solidFill>
              <a:schemeClr val="bg1"/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506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" name="TextBox 9"/>
            <p:cNvSpPr txBox="1"/>
            <p:nvPr/>
          </p:nvSpPr>
          <p:spPr>
            <a:xfrm>
              <a:off x="5225498" y="1821353"/>
              <a:ext cx="320425" cy="184666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20" normalizeH="0" baseline="0" noProof="0" dirty="0">
                  <a:ln>
                    <a:noFill/>
                  </a:ln>
                  <a:solidFill>
                    <a:srgbClr val="EC1C24"/>
                  </a:solidFill>
                  <a:effectLst/>
                  <a:uLnTx/>
                  <a:uFillTx/>
                  <a:latin typeface="Lato" panose="020F0502020204030203" pitchFamily="34" charset="0"/>
                  <a:ea typeface="+mn-ea"/>
                  <a:cs typeface="Poppins SemiBold" panose="02000000000000000000" pitchFamily="2" charset="0"/>
                </a:rPr>
                <a:t>02</a:t>
              </a:r>
            </a:p>
          </p:txBody>
        </p:sp>
        <p:sp>
          <p:nvSpPr>
            <p:cNvPr id="14" name="Oval 13"/>
            <p:cNvSpPr/>
            <p:nvPr/>
          </p:nvSpPr>
          <p:spPr>
            <a:xfrm>
              <a:off x="5212841" y="2396926"/>
              <a:ext cx="345738" cy="345738"/>
            </a:xfrm>
            <a:prstGeom prst="ellipse">
              <a:avLst/>
            </a:prstGeom>
            <a:solidFill>
              <a:schemeClr val="bg1"/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506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" name="TextBox 12"/>
            <p:cNvSpPr txBox="1"/>
            <p:nvPr/>
          </p:nvSpPr>
          <p:spPr>
            <a:xfrm>
              <a:off x="5225498" y="2477462"/>
              <a:ext cx="320425" cy="184666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20" normalizeH="0" baseline="0" noProof="0" dirty="0">
                  <a:ln>
                    <a:noFill/>
                  </a:ln>
                  <a:solidFill>
                    <a:srgbClr val="EC1C24"/>
                  </a:solidFill>
                  <a:effectLst/>
                  <a:uLnTx/>
                  <a:uFillTx/>
                  <a:latin typeface="Lato" panose="020F0502020204030203" pitchFamily="34" charset="0"/>
                  <a:ea typeface="+mn-ea"/>
                  <a:cs typeface="Poppins SemiBold" panose="02000000000000000000" pitchFamily="2" charset="0"/>
                </a:rPr>
                <a:t>03</a:t>
              </a:r>
            </a:p>
          </p:txBody>
        </p:sp>
        <p:sp>
          <p:nvSpPr>
            <p:cNvPr id="17" name="Oval 16"/>
            <p:cNvSpPr/>
            <p:nvPr/>
          </p:nvSpPr>
          <p:spPr>
            <a:xfrm>
              <a:off x="5212841" y="3053035"/>
              <a:ext cx="345738" cy="345738"/>
            </a:xfrm>
            <a:prstGeom prst="ellipse">
              <a:avLst/>
            </a:prstGeom>
            <a:solidFill>
              <a:schemeClr val="bg1"/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506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" name="TextBox 15"/>
            <p:cNvSpPr txBox="1"/>
            <p:nvPr/>
          </p:nvSpPr>
          <p:spPr>
            <a:xfrm>
              <a:off x="5225498" y="3133571"/>
              <a:ext cx="320425" cy="184666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20" normalizeH="0" baseline="0" noProof="0" dirty="0">
                  <a:ln>
                    <a:noFill/>
                  </a:ln>
                  <a:solidFill>
                    <a:srgbClr val="EC1C24"/>
                  </a:solidFill>
                  <a:effectLst/>
                  <a:uLnTx/>
                  <a:uFillTx/>
                  <a:latin typeface="Lato" panose="020F0502020204030203" pitchFamily="34" charset="0"/>
                  <a:ea typeface="+mn-ea"/>
                  <a:cs typeface="Poppins SemiBold" panose="02000000000000000000" pitchFamily="2" charset="0"/>
                </a:rPr>
                <a:t>04</a:t>
              </a:r>
            </a:p>
          </p:txBody>
        </p:sp>
        <p:sp>
          <p:nvSpPr>
            <p:cNvPr id="20" name="Oval 19"/>
            <p:cNvSpPr/>
            <p:nvPr/>
          </p:nvSpPr>
          <p:spPr>
            <a:xfrm>
              <a:off x="5212841" y="3709143"/>
              <a:ext cx="345738" cy="345738"/>
            </a:xfrm>
            <a:prstGeom prst="ellipse">
              <a:avLst/>
            </a:prstGeom>
            <a:solidFill>
              <a:schemeClr val="bg1"/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506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" name="TextBox 18"/>
            <p:cNvSpPr txBox="1"/>
            <p:nvPr/>
          </p:nvSpPr>
          <p:spPr>
            <a:xfrm>
              <a:off x="5225498" y="3789679"/>
              <a:ext cx="320425" cy="184666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20" normalizeH="0" baseline="0" noProof="0" dirty="0">
                  <a:ln>
                    <a:noFill/>
                  </a:ln>
                  <a:solidFill>
                    <a:srgbClr val="EC1C24"/>
                  </a:solidFill>
                  <a:effectLst/>
                  <a:uLnTx/>
                  <a:uFillTx/>
                  <a:latin typeface="Lato" panose="020F0502020204030203" pitchFamily="34" charset="0"/>
                  <a:ea typeface="+mn-ea"/>
                  <a:cs typeface="Poppins SemiBold" panose="02000000000000000000" pitchFamily="2" charset="0"/>
                </a:rPr>
                <a:t>05</a:t>
              </a:r>
            </a:p>
          </p:txBody>
        </p:sp>
        <p:cxnSp>
          <p:nvCxnSpPr>
            <p:cNvPr id="34" name="Straight Connector 33"/>
            <p:cNvCxnSpPr>
              <a:stCxn id="8" idx="4"/>
              <a:endCxn id="11" idx="0"/>
            </p:cNvCxnSpPr>
            <p:nvPr/>
          </p:nvCxnSpPr>
          <p:spPr>
            <a:xfrm>
              <a:off x="5385710" y="1430447"/>
              <a:ext cx="0" cy="310370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>
              <a:stCxn id="11" idx="4"/>
              <a:endCxn id="14" idx="0"/>
            </p:cNvCxnSpPr>
            <p:nvPr/>
          </p:nvCxnSpPr>
          <p:spPr>
            <a:xfrm>
              <a:off x="5385710" y="2086555"/>
              <a:ext cx="0" cy="310371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>
              <a:stCxn id="14" idx="4"/>
              <a:endCxn id="17" idx="0"/>
            </p:cNvCxnSpPr>
            <p:nvPr/>
          </p:nvCxnSpPr>
          <p:spPr>
            <a:xfrm>
              <a:off x="5385710" y="2742664"/>
              <a:ext cx="0" cy="310371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>
              <a:stCxn id="17" idx="4"/>
              <a:endCxn id="20" idx="0"/>
            </p:cNvCxnSpPr>
            <p:nvPr/>
          </p:nvCxnSpPr>
          <p:spPr>
            <a:xfrm>
              <a:off x="5385710" y="3398773"/>
              <a:ext cx="0" cy="310370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8617261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ORGANOGRAMA</a:t>
            </a:r>
            <a:endParaRPr lang="en-US" dirty="0">
              <a:solidFill>
                <a:srgbClr val="EC0000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VP TI</a:t>
            </a:r>
          </a:p>
        </p:txBody>
      </p:sp>
      <p:pic>
        <p:nvPicPr>
          <p:cNvPr id="49" name="Picture 4" descr="Tasso Faria">
            <a:extLst>
              <a:ext uri="{FF2B5EF4-FFF2-40B4-BE49-F238E27FC236}">
                <a16:creationId xmlns:a16="http://schemas.microsoft.com/office/drawing/2014/main" id="{56AA68F6-336C-4D19-8356-1531BE06176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52037" y="3062011"/>
            <a:ext cx="455465" cy="597466"/>
          </a:xfrm>
          <a:prstGeom prst="round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2" name="Retângulo: Cantos Arredondados 51">
            <a:extLst>
              <a:ext uri="{FF2B5EF4-FFF2-40B4-BE49-F238E27FC236}">
                <a16:creationId xmlns:a16="http://schemas.microsoft.com/office/drawing/2014/main" id="{590AAC23-56A6-4D7A-B4AB-A884345F0312}"/>
              </a:ext>
            </a:extLst>
          </p:cNvPr>
          <p:cNvSpPr/>
          <p:nvPr/>
        </p:nvSpPr>
        <p:spPr>
          <a:xfrm>
            <a:off x="4218638" y="1263154"/>
            <a:ext cx="1443212" cy="916581"/>
          </a:xfrm>
          <a:prstGeom prst="roundRect">
            <a:avLst/>
          </a:prstGeom>
          <a:noFill/>
          <a:ln w="28575">
            <a:solidFill>
              <a:srgbClr val="FF0000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9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P TI</a:t>
            </a:r>
          </a:p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icardo Roquette</a:t>
            </a:r>
          </a:p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05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5" name="Retângulo: Cantos Arredondados 54">
            <a:extLst>
              <a:ext uri="{FF2B5EF4-FFF2-40B4-BE49-F238E27FC236}">
                <a16:creationId xmlns:a16="http://schemas.microsoft.com/office/drawing/2014/main" id="{03D4C3CD-487C-459B-B307-8845999F7469}"/>
              </a:ext>
            </a:extLst>
          </p:cNvPr>
          <p:cNvSpPr/>
          <p:nvPr/>
        </p:nvSpPr>
        <p:spPr>
          <a:xfrm>
            <a:off x="4294150" y="3065041"/>
            <a:ext cx="973957" cy="615968"/>
          </a:xfrm>
          <a:prstGeom prst="roundRect">
            <a:avLst/>
          </a:prstGeom>
          <a:noFill/>
          <a:ln w="28575">
            <a:solidFill>
              <a:srgbClr val="8497B0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788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788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G INFO E ARQUITETURA</a:t>
            </a:r>
            <a:br>
              <a:rPr kumimoji="0" lang="pt-BR" sz="788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pt-BR" sz="825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duardo Fabricio Elias</a:t>
            </a:r>
          </a:p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825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8" name="Retângulo: Cantos Arredondados 57">
            <a:extLst>
              <a:ext uri="{FF2B5EF4-FFF2-40B4-BE49-F238E27FC236}">
                <a16:creationId xmlns:a16="http://schemas.microsoft.com/office/drawing/2014/main" id="{1602368F-6787-4A62-83F8-56D6727718ED}"/>
              </a:ext>
            </a:extLst>
          </p:cNvPr>
          <p:cNvSpPr/>
          <p:nvPr/>
        </p:nvSpPr>
        <p:spPr>
          <a:xfrm>
            <a:off x="7195714" y="3065041"/>
            <a:ext cx="915854" cy="607219"/>
          </a:xfrm>
          <a:prstGeom prst="roundRect">
            <a:avLst/>
          </a:prstGeom>
          <a:noFill/>
          <a:ln w="28575">
            <a:solidFill>
              <a:srgbClr val="8497B0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825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FRAESTRUTURA</a:t>
            </a:r>
            <a:br>
              <a:rPr kumimoji="0" lang="pt-BR" sz="788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pt-BR" sz="825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asso Gomes de Faria</a:t>
            </a:r>
          </a:p>
        </p:txBody>
      </p:sp>
      <p:sp>
        <p:nvSpPr>
          <p:cNvPr id="61" name="Retângulo: Cantos Arredondados 60">
            <a:extLst>
              <a:ext uri="{FF2B5EF4-FFF2-40B4-BE49-F238E27FC236}">
                <a16:creationId xmlns:a16="http://schemas.microsoft.com/office/drawing/2014/main" id="{9F388C2F-B132-4363-B1B0-AFF6D84E9CDF}"/>
              </a:ext>
            </a:extLst>
          </p:cNvPr>
          <p:cNvSpPr/>
          <p:nvPr/>
        </p:nvSpPr>
        <p:spPr>
          <a:xfrm>
            <a:off x="1450690" y="3065041"/>
            <a:ext cx="915854" cy="607219"/>
          </a:xfrm>
          <a:prstGeom prst="roundRect">
            <a:avLst/>
          </a:prstGeom>
          <a:noFill/>
          <a:ln w="28575">
            <a:solidFill>
              <a:srgbClr val="8497B0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825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ANAIS E SIST. INTERNOS</a:t>
            </a:r>
            <a:br>
              <a:rPr kumimoji="0" lang="pt-BR" sz="825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pt-BR" sz="825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lexandre Luis de Andrade</a:t>
            </a:r>
          </a:p>
        </p:txBody>
      </p:sp>
      <p:sp>
        <p:nvSpPr>
          <p:cNvPr id="64" name="Retângulo: Cantos Arredondados 63">
            <a:extLst>
              <a:ext uri="{FF2B5EF4-FFF2-40B4-BE49-F238E27FC236}">
                <a16:creationId xmlns:a16="http://schemas.microsoft.com/office/drawing/2014/main" id="{82B382AB-4416-423A-A5D7-1454CE6801DB}"/>
              </a:ext>
            </a:extLst>
          </p:cNvPr>
          <p:cNvSpPr/>
          <p:nvPr/>
        </p:nvSpPr>
        <p:spPr>
          <a:xfrm>
            <a:off x="2872420" y="3065041"/>
            <a:ext cx="915854" cy="607219"/>
          </a:xfrm>
          <a:prstGeom prst="roundRect">
            <a:avLst/>
          </a:prstGeom>
          <a:noFill/>
          <a:ln w="28575">
            <a:solidFill>
              <a:schemeClr val="bg2">
                <a:lumMod val="50000"/>
              </a:schemeClr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825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OJETOS</a:t>
            </a:r>
            <a:br>
              <a:rPr kumimoji="0" lang="pt-BR" sz="825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pt-BR" sz="825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bora Roesler</a:t>
            </a:r>
          </a:p>
        </p:txBody>
      </p:sp>
      <p:pic>
        <p:nvPicPr>
          <p:cNvPr id="65" name="Picture 2" descr="Debora Roesler">
            <a:extLst>
              <a:ext uri="{FF2B5EF4-FFF2-40B4-BE49-F238E27FC236}">
                <a16:creationId xmlns:a16="http://schemas.microsoft.com/office/drawing/2014/main" id="{81403622-C825-4AF1-8C21-5CA0269F946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776" t="5625" r="24792" b="35620"/>
          <a:stretch/>
        </p:blipFill>
        <p:spPr bwMode="auto">
          <a:xfrm>
            <a:off x="2403455" y="3065040"/>
            <a:ext cx="444564" cy="607220"/>
          </a:xfrm>
          <a:prstGeom prst="round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6" name="Imagem 65">
            <a:extLst>
              <a:ext uri="{FF2B5EF4-FFF2-40B4-BE49-F238E27FC236}">
                <a16:creationId xmlns:a16="http://schemas.microsoft.com/office/drawing/2014/main" id="{D08C670A-3122-49EB-A1A7-11AB72BB33E7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029" t="10655" r="47343" b="57408"/>
          <a:stretch/>
        </p:blipFill>
        <p:spPr>
          <a:xfrm>
            <a:off x="3825263" y="3065041"/>
            <a:ext cx="449819" cy="607220"/>
          </a:xfrm>
          <a:prstGeom prst="roundRect">
            <a:avLst/>
          </a:prstGeom>
        </p:spPr>
      </p:pic>
      <p:pic>
        <p:nvPicPr>
          <p:cNvPr id="67" name="Picture 4">
            <a:extLst>
              <a:ext uri="{FF2B5EF4-FFF2-40B4-BE49-F238E27FC236}">
                <a16:creationId xmlns:a16="http://schemas.microsoft.com/office/drawing/2014/main" id="{505A5CB1-2287-4BFE-B808-8A09132C236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7692" y="3074793"/>
            <a:ext cx="444564" cy="606219"/>
          </a:xfrm>
          <a:prstGeom prst="round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68" name="Conector reto 67">
            <a:extLst>
              <a:ext uri="{FF2B5EF4-FFF2-40B4-BE49-F238E27FC236}">
                <a16:creationId xmlns:a16="http://schemas.microsoft.com/office/drawing/2014/main" id="{0C68A532-FE81-4641-97B0-FDB42379D0EE}"/>
              </a:ext>
            </a:extLst>
          </p:cNvPr>
          <p:cNvCxnSpPr>
            <a:cxnSpLocks/>
          </p:cNvCxnSpPr>
          <p:nvPr/>
        </p:nvCxnSpPr>
        <p:spPr>
          <a:xfrm>
            <a:off x="1851660" y="2817147"/>
            <a:ext cx="5801980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9" name="Conector reto 68">
            <a:extLst>
              <a:ext uri="{FF2B5EF4-FFF2-40B4-BE49-F238E27FC236}">
                <a16:creationId xmlns:a16="http://schemas.microsoft.com/office/drawing/2014/main" id="{97BA5A23-C203-4E98-A3CC-5DF030E91C9B}"/>
              </a:ext>
            </a:extLst>
          </p:cNvPr>
          <p:cNvCxnSpPr/>
          <p:nvPr/>
        </p:nvCxnSpPr>
        <p:spPr>
          <a:xfrm>
            <a:off x="7653640" y="2817148"/>
            <a:ext cx="0" cy="246379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0" name="Picture 2">
            <a:extLst>
              <a:ext uri="{FF2B5EF4-FFF2-40B4-BE49-F238E27FC236}">
                <a16:creationId xmlns:a16="http://schemas.microsoft.com/office/drawing/2014/main" id="{549B15EB-85E0-4196-8C69-D66B783B413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17121" y="1263155"/>
            <a:ext cx="916599" cy="916599"/>
          </a:xfrm>
          <a:prstGeom prst="flowChartAlternateProcess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71" name="Conector reto 70">
            <a:extLst>
              <a:ext uri="{FF2B5EF4-FFF2-40B4-BE49-F238E27FC236}">
                <a16:creationId xmlns:a16="http://schemas.microsoft.com/office/drawing/2014/main" id="{50886DB9-A9EC-481B-8726-F3588A5BEC32}"/>
              </a:ext>
            </a:extLst>
          </p:cNvPr>
          <p:cNvCxnSpPr/>
          <p:nvPr/>
        </p:nvCxnSpPr>
        <p:spPr>
          <a:xfrm>
            <a:off x="1851660" y="2817147"/>
            <a:ext cx="0" cy="246379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Conector reto 71">
            <a:extLst>
              <a:ext uri="{FF2B5EF4-FFF2-40B4-BE49-F238E27FC236}">
                <a16:creationId xmlns:a16="http://schemas.microsoft.com/office/drawing/2014/main" id="{A70BB585-9E8E-46F5-9546-56293C9DB0E7}"/>
              </a:ext>
            </a:extLst>
          </p:cNvPr>
          <p:cNvCxnSpPr/>
          <p:nvPr/>
        </p:nvCxnSpPr>
        <p:spPr>
          <a:xfrm>
            <a:off x="3321314" y="2817146"/>
            <a:ext cx="0" cy="246379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Conector reto 72">
            <a:extLst>
              <a:ext uri="{FF2B5EF4-FFF2-40B4-BE49-F238E27FC236}">
                <a16:creationId xmlns:a16="http://schemas.microsoft.com/office/drawing/2014/main" id="{506FA062-4D1D-4373-B86C-5CAD0FCF5A1E}"/>
              </a:ext>
            </a:extLst>
          </p:cNvPr>
          <p:cNvCxnSpPr/>
          <p:nvPr/>
        </p:nvCxnSpPr>
        <p:spPr>
          <a:xfrm>
            <a:off x="4752077" y="2817146"/>
            <a:ext cx="0" cy="246379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Conector reto 73">
            <a:extLst>
              <a:ext uri="{FF2B5EF4-FFF2-40B4-BE49-F238E27FC236}">
                <a16:creationId xmlns:a16="http://schemas.microsoft.com/office/drawing/2014/main" id="{C2629C82-0792-432C-96FC-68013C3AE4A3}"/>
              </a:ext>
            </a:extLst>
          </p:cNvPr>
          <p:cNvCxnSpPr/>
          <p:nvPr/>
        </p:nvCxnSpPr>
        <p:spPr>
          <a:xfrm>
            <a:off x="4752077" y="2570767"/>
            <a:ext cx="0" cy="246379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5" name="Picture 6" descr="Odinei Z.">
            <a:extLst>
              <a:ext uri="{FF2B5EF4-FFF2-40B4-BE49-F238E27FC236}">
                <a16:creationId xmlns:a16="http://schemas.microsoft.com/office/drawing/2014/main" id="{5F6E9FBB-4B77-45A1-9E75-0885DC1209B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15241" y="3073343"/>
            <a:ext cx="516845" cy="564476"/>
          </a:xfrm>
          <a:prstGeom prst="flowChartAlternateProcess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6" name="Fluxograma: Processo Alternativo 75">
            <a:extLst>
              <a:ext uri="{FF2B5EF4-FFF2-40B4-BE49-F238E27FC236}">
                <a16:creationId xmlns:a16="http://schemas.microsoft.com/office/drawing/2014/main" id="{5C14B0E2-A7F2-435A-BD55-FAF51D4F8D40}"/>
              </a:ext>
            </a:extLst>
          </p:cNvPr>
          <p:cNvSpPr/>
          <p:nvPr/>
        </p:nvSpPr>
        <p:spPr>
          <a:xfrm>
            <a:off x="5798176" y="3065041"/>
            <a:ext cx="915854" cy="607219"/>
          </a:xfrm>
          <a:prstGeom prst="flowChartAlternateProcess">
            <a:avLst/>
          </a:prstGeom>
          <a:noFill/>
          <a:ln w="28575">
            <a:solidFill>
              <a:srgbClr val="8497B0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825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APTURA E PROCESSAMENTO</a:t>
            </a:r>
            <a:br>
              <a:rPr kumimoji="0" lang="pt-BR" sz="825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pt-BR" sz="825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dinei Zanotto Jr.</a:t>
            </a:r>
          </a:p>
        </p:txBody>
      </p:sp>
      <p:cxnSp>
        <p:nvCxnSpPr>
          <p:cNvPr id="77" name="Conector reto 76">
            <a:extLst>
              <a:ext uri="{FF2B5EF4-FFF2-40B4-BE49-F238E27FC236}">
                <a16:creationId xmlns:a16="http://schemas.microsoft.com/office/drawing/2014/main" id="{ACF22090-5227-4F7D-9343-8295101C375C}"/>
              </a:ext>
            </a:extLst>
          </p:cNvPr>
          <p:cNvCxnSpPr/>
          <p:nvPr/>
        </p:nvCxnSpPr>
        <p:spPr>
          <a:xfrm>
            <a:off x="6253928" y="2821557"/>
            <a:ext cx="0" cy="246379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Retângulo: Cantos Arredondados 83">
            <a:extLst>
              <a:ext uri="{FF2B5EF4-FFF2-40B4-BE49-F238E27FC236}">
                <a16:creationId xmlns:a16="http://schemas.microsoft.com/office/drawing/2014/main" id="{BD8830A5-C965-4CDA-953B-B36528EC5AAA}"/>
              </a:ext>
            </a:extLst>
          </p:cNvPr>
          <p:cNvSpPr/>
          <p:nvPr/>
        </p:nvSpPr>
        <p:spPr>
          <a:xfrm>
            <a:off x="8153891" y="125314"/>
            <a:ext cx="162926" cy="140486"/>
          </a:xfrm>
          <a:prstGeom prst="round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900" b="0" i="0" u="none" strike="noStrike" kern="1200" cap="none" spc="0" normalizeH="0" baseline="0" noProof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5" name="Retângulo: Cantos Arredondados 84">
            <a:extLst>
              <a:ext uri="{FF2B5EF4-FFF2-40B4-BE49-F238E27FC236}">
                <a16:creationId xmlns:a16="http://schemas.microsoft.com/office/drawing/2014/main" id="{8EFCEFE4-DD0D-49D0-882D-E1D27F6BBEBE}"/>
              </a:ext>
            </a:extLst>
          </p:cNvPr>
          <p:cNvSpPr/>
          <p:nvPr/>
        </p:nvSpPr>
        <p:spPr>
          <a:xfrm>
            <a:off x="8153891" y="319955"/>
            <a:ext cx="162926" cy="140486"/>
          </a:xfrm>
          <a:prstGeom prst="roundRect">
            <a:avLst/>
          </a:prstGeom>
          <a:noFill/>
          <a:ln w="28575">
            <a:solidFill>
              <a:schemeClr val="bg2">
                <a:lumMod val="50000"/>
              </a:schemeClr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050" b="0" i="0" u="none" strike="noStrike" kern="1200" cap="none" spc="0" normalizeH="0" baseline="0" noProof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6" name="Retângulo: Cantos Arredondados 85">
            <a:extLst>
              <a:ext uri="{FF2B5EF4-FFF2-40B4-BE49-F238E27FC236}">
                <a16:creationId xmlns:a16="http://schemas.microsoft.com/office/drawing/2014/main" id="{4C0199F5-1931-4393-9BFD-BD4F03EB4927}"/>
              </a:ext>
            </a:extLst>
          </p:cNvPr>
          <p:cNvSpPr/>
          <p:nvPr/>
        </p:nvSpPr>
        <p:spPr>
          <a:xfrm>
            <a:off x="8153891" y="514561"/>
            <a:ext cx="162926" cy="140486"/>
          </a:xfrm>
          <a:prstGeom prst="roundRect">
            <a:avLst/>
          </a:prstGeom>
          <a:noFill/>
          <a:ln w="28575">
            <a:solidFill>
              <a:srgbClr val="8497B0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050" b="0" i="0" u="none" strike="noStrike" kern="1200" cap="none" spc="0" normalizeH="0" baseline="0" noProof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7" name="CaixaDeTexto 86">
            <a:extLst>
              <a:ext uri="{FF2B5EF4-FFF2-40B4-BE49-F238E27FC236}">
                <a16:creationId xmlns:a16="http://schemas.microsoft.com/office/drawing/2014/main" id="{3D617425-A12D-4BB6-93BC-75EC9960D647}"/>
              </a:ext>
            </a:extLst>
          </p:cNvPr>
          <p:cNvSpPr txBox="1"/>
          <p:nvPr/>
        </p:nvSpPr>
        <p:spPr>
          <a:xfrm>
            <a:off x="8358746" y="90103"/>
            <a:ext cx="60852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P</a:t>
            </a:r>
          </a:p>
        </p:txBody>
      </p:sp>
      <p:sp>
        <p:nvSpPr>
          <p:cNvPr id="88" name="CaixaDeTexto 87">
            <a:extLst>
              <a:ext uri="{FF2B5EF4-FFF2-40B4-BE49-F238E27FC236}">
                <a16:creationId xmlns:a16="http://schemas.microsoft.com/office/drawing/2014/main" id="{B8B207E0-87BD-4325-B634-EE89D2C526ED}"/>
              </a:ext>
            </a:extLst>
          </p:cNvPr>
          <p:cNvSpPr txBox="1"/>
          <p:nvPr/>
        </p:nvSpPr>
        <p:spPr>
          <a:xfrm>
            <a:off x="8358746" y="489865"/>
            <a:ext cx="385487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UP</a:t>
            </a:r>
          </a:p>
        </p:txBody>
      </p:sp>
      <p:sp>
        <p:nvSpPr>
          <p:cNvPr id="89" name="CaixaDeTexto 88">
            <a:extLst>
              <a:ext uri="{FF2B5EF4-FFF2-40B4-BE49-F238E27FC236}">
                <a16:creationId xmlns:a16="http://schemas.microsoft.com/office/drawing/2014/main" id="{97C651C8-15E6-4FA3-81EF-3E6F4BCFFF9B}"/>
              </a:ext>
            </a:extLst>
          </p:cNvPr>
          <p:cNvSpPr txBox="1"/>
          <p:nvPr/>
        </p:nvSpPr>
        <p:spPr>
          <a:xfrm>
            <a:off x="8358746" y="283729"/>
            <a:ext cx="1109387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UP EXEC</a:t>
            </a:r>
          </a:p>
        </p:txBody>
      </p:sp>
      <p:sp>
        <p:nvSpPr>
          <p:cNvPr id="5" name="CaixaDeTexto 4">
            <a:extLst>
              <a:ext uri="{FF2B5EF4-FFF2-40B4-BE49-F238E27FC236}">
                <a16:creationId xmlns:a16="http://schemas.microsoft.com/office/drawing/2014/main" id="{294F3C60-9F68-4C86-BF65-10E699CC36A5}"/>
              </a:ext>
            </a:extLst>
          </p:cNvPr>
          <p:cNvSpPr txBox="1"/>
          <p:nvPr/>
        </p:nvSpPr>
        <p:spPr>
          <a:xfrm>
            <a:off x="7219896" y="3715550"/>
            <a:ext cx="482824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000" b="1" dirty="0">
                <a:solidFill>
                  <a:srgbClr val="FF0000"/>
                </a:solidFill>
              </a:rPr>
              <a:t>+ CSA</a:t>
            </a:r>
          </a:p>
        </p:txBody>
      </p:sp>
      <p:sp>
        <p:nvSpPr>
          <p:cNvPr id="36" name="CaixaDeTexto 35">
            <a:extLst>
              <a:ext uri="{FF2B5EF4-FFF2-40B4-BE49-F238E27FC236}">
                <a16:creationId xmlns:a16="http://schemas.microsoft.com/office/drawing/2014/main" id="{1D1FC10C-7696-47D8-9A80-EAED2BF88791}"/>
              </a:ext>
            </a:extLst>
          </p:cNvPr>
          <p:cNvSpPr txBox="1"/>
          <p:nvPr/>
        </p:nvSpPr>
        <p:spPr>
          <a:xfrm>
            <a:off x="3825264" y="3716326"/>
            <a:ext cx="144284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000" b="1" dirty="0">
                <a:solidFill>
                  <a:srgbClr val="FF0000"/>
                </a:solidFill>
              </a:rPr>
              <a:t>+ Escritório de Projetos</a:t>
            </a:r>
          </a:p>
        </p:txBody>
      </p:sp>
      <p:sp>
        <p:nvSpPr>
          <p:cNvPr id="37" name="CaixaDeTexto 36">
            <a:extLst>
              <a:ext uri="{FF2B5EF4-FFF2-40B4-BE49-F238E27FC236}">
                <a16:creationId xmlns:a16="http://schemas.microsoft.com/office/drawing/2014/main" id="{3D9DB9E1-8848-445A-95E4-54AB977346CA}"/>
              </a:ext>
            </a:extLst>
          </p:cNvPr>
          <p:cNvSpPr txBox="1"/>
          <p:nvPr/>
        </p:nvSpPr>
        <p:spPr>
          <a:xfrm>
            <a:off x="2366544" y="3715549"/>
            <a:ext cx="147975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000" b="1" dirty="0">
                <a:solidFill>
                  <a:srgbClr val="FF0000"/>
                </a:solidFill>
              </a:rPr>
              <a:t>+Arquitetos de Negócios</a:t>
            </a:r>
          </a:p>
        </p:txBody>
      </p:sp>
    </p:spTree>
    <p:extLst>
      <p:ext uri="{BB962C8B-B14F-4D97-AF65-F5344CB8AC3E}">
        <p14:creationId xmlns:p14="http://schemas.microsoft.com/office/powerpoint/2010/main" val="16768753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Diagrama 1">
            <a:extLst>
              <a:ext uri="{FF2B5EF4-FFF2-40B4-BE49-F238E27FC236}">
                <a16:creationId xmlns:a16="http://schemas.microsoft.com/office/drawing/2014/main" id="{AA656FD7-9AB5-4598-8898-439F59629FA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099414039"/>
              </p:ext>
            </p:extLst>
          </p:nvPr>
        </p:nvGraphicFramePr>
        <p:xfrm>
          <a:off x="633838" y="862256"/>
          <a:ext cx="8201248" cy="414302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10" name="Imagem 9">
            <a:extLst>
              <a:ext uri="{FF2B5EF4-FFF2-40B4-BE49-F238E27FC236}">
                <a16:creationId xmlns:a16="http://schemas.microsoft.com/office/drawing/2014/main" id="{AF10CF22-6102-4A61-8A8C-F1331EBA8DF4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1049"/>
          <a:stretch/>
        </p:blipFill>
        <p:spPr>
          <a:xfrm>
            <a:off x="2790964" y="781448"/>
            <a:ext cx="884041" cy="928135"/>
          </a:xfrm>
          <a:prstGeom prst="ellipse">
            <a:avLst/>
          </a:prstGeom>
          <a:ln w="38100" cap="sq">
            <a:solidFill>
              <a:schemeClr val="bg1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pic>
        <p:nvPicPr>
          <p:cNvPr id="11" name="Imagem 10">
            <a:extLst>
              <a:ext uri="{FF2B5EF4-FFF2-40B4-BE49-F238E27FC236}">
                <a16:creationId xmlns:a16="http://schemas.microsoft.com/office/drawing/2014/main" id="{68A11219-B066-4ED5-8584-73C9CCCD8519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84553" y="1963564"/>
            <a:ext cx="846172" cy="785731"/>
          </a:xfrm>
          <a:prstGeom prst="ellipse">
            <a:avLst/>
          </a:prstGeom>
          <a:noFill/>
          <a:ln>
            <a:noFill/>
          </a:ln>
        </p:spPr>
      </p:pic>
      <p:pic>
        <p:nvPicPr>
          <p:cNvPr id="12" name="Imagem 11">
            <a:extLst>
              <a:ext uri="{FF2B5EF4-FFF2-40B4-BE49-F238E27FC236}">
                <a16:creationId xmlns:a16="http://schemas.microsoft.com/office/drawing/2014/main" id="{F9046AE3-0F0D-4EE6-B1AF-D1950F46B88D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t="5681" b="13361"/>
          <a:stretch/>
        </p:blipFill>
        <p:spPr>
          <a:xfrm>
            <a:off x="2900675" y="1972279"/>
            <a:ext cx="664621" cy="724169"/>
          </a:xfrm>
          <a:prstGeom prst="ellipse">
            <a:avLst/>
          </a:prstGeom>
          <a:noFill/>
          <a:ln>
            <a:noFill/>
          </a:ln>
        </p:spPr>
      </p:pic>
      <p:pic>
        <p:nvPicPr>
          <p:cNvPr id="13" name="Picture 6" descr="C:\Users\vc88083\AppData\Local\Microsoft\Windows\Temporary Internet Files\Content.Outlook\FUVX44HH\Leila Klevanskis.png">
            <a:hlinkClick r:id="" action="ppaction://noaction"/>
            <a:extLst>
              <a:ext uri="{FF2B5EF4-FFF2-40B4-BE49-F238E27FC236}">
                <a16:creationId xmlns:a16="http://schemas.microsoft.com/office/drawing/2014/main" id="{B4356621-21CE-459E-BCB0-66BBE9D0CC4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0" cstate="email"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sharpenSoften amount="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17779"/>
          <a:stretch/>
        </p:blipFill>
        <p:spPr bwMode="auto">
          <a:xfrm>
            <a:off x="5740069" y="1972279"/>
            <a:ext cx="792480" cy="768303"/>
          </a:xfrm>
          <a:prstGeom prst="ellipse">
            <a:avLst/>
          </a:prstGeom>
          <a:noFill/>
          <a:ln>
            <a:noFill/>
          </a:ln>
        </p:spPr>
      </p:pic>
      <p:pic>
        <p:nvPicPr>
          <p:cNvPr id="14" name="Imagem 13">
            <a:hlinkClick r:id="" action="ppaction://noaction"/>
            <a:extLst>
              <a:ext uri="{FF2B5EF4-FFF2-40B4-BE49-F238E27FC236}">
                <a16:creationId xmlns:a16="http://schemas.microsoft.com/office/drawing/2014/main" id="{57B39CF1-DE9B-453F-BDF0-BAEDFAD66BBF}"/>
              </a:ext>
            </a:extLst>
          </p:cNvPr>
          <p:cNvPicPr preferRelativeResize="0">
            <a:picLocks/>
          </p:cNvPicPr>
          <p:nvPr/>
        </p:nvPicPr>
        <p:blipFill rotWithShape="1">
          <a:blip r:embed="rId12" cstate="email">
            <a:extLst>
              <a:ext uri="{BEBA8EAE-BF5A-486C-A8C5-ECC9F3942E4B}">
                <a14:imgProps xmlns:a14="http://schemas.microsoft.com/office/drawing/2010/main">
                  <a14:imgLayer r:embed="rId13">
                    <a14:imgEffect>
                      <a14:sharpenSoften amount="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2678" t="9293" r="25635" b="37874"/>
          <a:stretch/>
        </p:blipFill>
        <p:spPr>
          <a:xfrm>
            <a:off x="4652682" y="3106601"/>
            <a:ext cx="695822" cy="694616"/>
          </a:xfrm>
          <a:prstGeom prst="ellipse">
            <a:avLst/>
          </a:prstGeom>
          <a:noFill/>
          <a:ln>
            <a:noFill/>
          </a:ln>
        </p:spPr>
      </p:pic>
      <p:pic>
        <p:nvPicPr>
          <p:cNvPr id="15" name="Imagem 14">
            <a:extLst>
              <a:ext uri="{FF2B5EF4-FFF2-40B4-BE49-F238E27FC236}">
                <a16:creationId xmlns:a16="http://schemas.microsoft.com/office/drawing/2014/main" id="{C7CBA137-5A36-4B39-8C6B-F31DB227F614}"/>
              </a:ext>
            </a:extLst>
          </p:cNvPr>
          <p:cNvPicPr>
            <a:picLocks noChangeAspect="1"/>
          </p:cNvPicPr>
          <p:nvPr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13497" y="3098831"/>
            <a:ext cx="688464" cy="709393"/>
          </a:xfrm>
          <a:prstGeom prst="ellipse">
            <a:avLst/>
          </a:prstGeom>
          <a:noFill/>
          <a:ln>
            <a:noFill/>
          </a:ln>
        </p:spPr>
      </p:pic>
      <p:pic>
        <p:nvPicPr>
          <p:cNvPr id="16" name="Imagem 15">
            <a:extLst>
              <a:ext uri="{FF2B5EF4-FFF2-40B4-BE49-F238E27FC236}">
                <a16:creationId xmlns:a16="http://schemas.microsoft.com/office/drawing/2014/main" id="{B1014CFC-D8F4-4C0C-A219-2F85F24EBE58}"/>
              </a:ext>
            </a:extLst>
          </p:cNvPr>
          <p:cNvPicPr>
            <a:picLocks noChangeAspect="1"/>
          </p:cNvPicPr>
          <p:nvPr/>
        </p:nvPicPr>
        <p:blipFill rotWithShape="1">
          <a:blip r:embed="rId15"/>
          <a:srcRect b="11986"/>
          <a:stretch/>
        </p:blipFill>
        <p:spPr>
          <a:xfrm>
            <a:off x="4734462" y="4201037"/>
            <a:ext cx="645717" cy="694616"/>
          </a:xfrm>
          <a:prstGeom prst="ellipse">
            <a:avLst/>
          </a:prstGeom>
          <a:noFill/>
          <a:ln>
            <a:noFill/>
          </a:ln>
        </p:spPr>
      </p:pic>
      <p:cxnSp>
        <p:nvCxnSpPr>
          <p:cNvPr id="22" name="Conector: Angulado 21">
            <a:extLst>
              <a:ext uri="{FF2B5EF4-FFF2-40B4-BE49-F238E27FC236}">
                <a16:creationId xmlns:a16="http://schemas.microsoft.com/office/drawing/2014/main" id="{D75FA232-0FFB-4426-B815-A309B5FD60B2}"/>
              </a:ext>
            </a:extLst>
          </p:cNvPr>
          <p:cNvCxnSpPr>
            <a:cxnSpLocks/>
          </p:cNvCxnSpPr>
          <p:nvPr/>
        </p:nvCxnSpPr>
        <p:spPr>
          <a:xfrm rot="5400000">
            <a:off x="5915734" y="3550582"/>
            <a:ext cx="1614578" cy="380948"/>
          </a:xfrm>
          <a:prstGeom prst="bentConnector3">
            <a:avLst>
              <a:gd name="adj1" fmla="val 100145"/>
            </a:avLst>
          </a:prstGeom>
          <a:ln>
            <a:solidFill>
              <a:schemeClr val="bg1">
                <a:lumMod val="65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Espaço Reservado para Texto 25">
            <a:extLst>
              <a:ext uri="{FF2B5EF4-FFF2-40B4-BE49-F238E27FC236}">
                <a16:creationId xmlns:a16="http://schemas.microsoft.com/office/drawing/2014/main" id="{D8BCE516-1851-45E2-AB25-E2BE9B3F7C4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4202" y="495159"/>
            <a:ext cx="7953374" cy="383260"/>
          </a:xfrm>
        </p:spPr>
        <p:txBody>
          <a:bodyPr/>
          <a:lstStyle/>
          <a:p>
            <a:r>
              <a:rPr lang="pt-BR" dirty="0"/>
              <a:t>organograma</a:t>
            </a:r>
          </a:p>
        </p:txBody>
      </p:sp>
      <p:sp>
        <p:nvSpPr>
          <p:cNvPr id="27" name="Espaço Reservado para Texto 26">
            <a:extLst>
              <a:ext uri="{FF2B5EF4-FFF2-40B4-BE49-F238E27FC236}">
                <a16:creationId xmlns:a16="http://schemas.microsoft.com/office/drawing/2014/main" id="{61C5759B-47C6-483B-B255-79767E1495D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74407" y="878419"/>
            <a:ext cx="7953374" cy="141344"/>
          </a:xfrm>
        </p:spPr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3418180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Retângulo: Cantos Arredondados 41">
            <a:extLst>
              <a:ext uri="{FF2B5EF4-FFF2-40B4-BE49-F238E27FC236}">
                <a16:creationId xmlns:a16="http://schemas.microsoft.com/office/drawing/2014/main" id="{D5D37291-3FE0-4318-AFD7-819670777130}"/>
              </a:ext>
            </a:extLst>
          </p:cNvPr>
          <p:cNvSpPr/>
          <p:nvPr/>
        </p:nvSpPr>
        <p:spPr>
          <a:xfrm>
            <a:off x="2085962" y="3548909"/>
            <a:ext cx="5827115" cy="507241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1" name="Retângulo: Cantos Arredondados 40">
            <a:extLst>
              <a:ext uri="{FF2B5EF4-FFF2-40B4-BE49-F238E27FC236}">
                <a16:creationId xmlns:a16="http://schemas.microsoft.com/office/drawing/2014/main" id="{A63955F3-6EA7-4DF2-BA81-EA287577973E}"/>
              </a:ext>
            </a:extLst>
          </p:cNvPr>
          <p:cNvSpPr/>
          <p:nvPr/>
        </p:nvSpPr>
        <p:spPr>
          <a:xfrm>
            <a:off x="2099852" y="2600639"/>
            <a:ext cx="3413119" cy="473319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8" name="Retângulo: Cantos Arredondados 7">
            <a:extLst>
              <a:ext uri="{FF2B5EF4-FFF2-40B4-BE49-F238E27FC236}">
                <a16:creationId xmlns:a16="http://schemas.microsoft.com/office/drawing/2014/main" id="{84BDBE15-AE36-4F4F-AC8F-6AA448FDD7F3}"/>
              </a:ext>
            </a:extLst>
          </p:cNvPr>
          <p:cNvSpPr/>
          <p:nvPr/>
        </p:nvSpPr>
        <p:spPr>
          <a:xfrm>
            <a:off x="2096727" y="1651055"/>
            <a:ext cx="3413119" cy="473319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grpSp>
        <p:nvGrpSpPr>
          <p:cNvPr id="6" name="Agrupar 5">
            <a:extLst>
              <a:ext uri="{FF2B5EF4-FFF2-40B4-BE49-F238E27FC236}">
                <a16:creationId xmlns:a16="http://schemas.microsoft.com/office/drawing/2014/main" id="{BB7CB17E-A305-410B-8AAF-63A76A793862}"/>
              </a:ext>
            </a:extLst>
          </p:cNvPr>
          <p:cNvGrpSpPr/>
          <p:nvPr/>
        </p:nvGrpSpPr>
        <p:grpSpPr>
          <a:xfrm>
            <a:off x="5340151" y="1250913"/>
            <a:ext cx="2428760" cy="456077"/>
            <a:chOff x="0" y="3075"/>
            <a:chExt cx="7162800" cy="628238"/>
          </a:xfrm>
        </p:grpSpPr>
        <p:sp>
          <p:nvSpPr>
            <p:cNvPr id="7" name="Texto Explicativo: Seta para Cima 6">
              <a:extLst>
                <a:ext uri="{FF2B5EF4-FFF2-40B4-BE49-F238E27FC236}">
                  <a16:creationId xmlns:a16="http://schemas.microsoft.com/office/drawing/2014/main" id="{95A1F1D9-AD6D-4D06-B541-801BF119AC8A}"/>
                </a:ext>
              </a:extLst>
            </p:cNvPr>
            <p:cNvSpPr/>
            <p:nvPr/>
          </p:nvSpPr>
          <p:spPr>
            <a:xfrm rot="10800000">
              <a:off x="0" y="3075"/>
              <a:ext cx="7162800" cy="628238"/>
            </a:xfrm>
            <a:prstGeom prst="upArrowCallout">
              <a:avLst>
                <a:gd name="adj1" fmla="val 2262"/>
                <a:gd name="adj2" fmla="val 3518"/>
                <a:gd name="adj3" fmla="val 25000"/>
                <a:gd name="adj4" fmla="val 64977"/>
              </a:avLst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0" name="Texto Explicativo: Seta para Cima 4">
              <a:extLst>
                <a:ext uri="{FF2B5EF4-FFF2-40B4-BE49-F238E27FC236}">
                  <a16:creationId xmlns:a16="http://schemas.microsoft.com/office/drawing/2014/main" id="{821095FD-C44F-4030-AFAC-A81A6DEB4EDD}"/>
                </a:ext>
              </a:extLst>
            </p:cNvPr>
            <p:cNvSpPr txBox="1"/>
            <p:nvPr/>
          </p:nvSpPr>
          <p:spPr>
            <a:xfrm>
              <a:off x="0" y="16373"/>
              <a:ext cx="7162800" cy="39104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58674" tIns="58674" rIns="58674" bIns="58674" numCol="1" spcCol="1270" anchor="ctr" anchorCtr="0">
              <a:noAutofit/>
            </a:bodyPr>
            <a:lstStyle/>
            <a:p>
              <a:pPr algn="ctr" defTabSz="366713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pt-BR" sz="825" dirty="0">
                  <a:solidFill>
                    <a:prstClr val="white"/>
                  </a:solidFill>
                  <a:latin typeface="Calibri" panose="020F0502020204030204"/>
                </a:rPr>
                <a:t>PRODUTOS  BAU</a:t>
              </a:r>
            </a:p>
          </p:txBody>
        </p:sp>
      </p:grpSp>
      <p:sp>
        <p:nvSpPr>
          <p:cNvPr id="2" name="Espaço Reservado para Texto 1">
            <a:extLst>
              <a:ext uri="{FF2B5EF4-FFF2-40B4-BE49-F238E27FC236}">
                <a16:creationId xmlns:a16="http://schemas.microsoft.com/office/drawing/2014/main" id="{2A17CAE1-1CD7-44A4-BD33-013F2BDCB36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4203" y="575841"/>
            <a:ext cx="7953374" cy="383260"/>
          </a:xfrm>
        </p:spPr>
        <p:txBody>
          <a:bodyPr/>
          <a:lstStyle/>
          <a:p>
            <a:r>
              <a:rPr lang="pt-BR" dirty="0"/>
              <a:t>FLUXO DA </a:t>
            </a:r>
            <a:r>
              <a:rPr lang="pt-BR" dirty="0">
                <a:solidFill>
                  <a:schemeClr val="accent2">
                    <a:lumMod val="75000"/>
                  </a:schemeClr>
                </a:solidFill>
              </a:rPr>
              <a:t>OPORTUNIDADE	</a:t>
            </a:r>
          </a:p>
        </p:txBody>
      </p:sp>
      <p:sp>
        <p:nvSpPr>
          <p:cNvPr id="12" name="Forma Livre: Forma 11">
            <a:extLst>
              <a:ext uri="{FF2B5EF4-FFF2-40B4-BE49-F238E27FC236}">
                <a16:creationId xmlns:a16="http://schemas.microsoft.com/office/drawing/2014/main" id="{C7DDC616-E6C3-4CEC-AC24-CAB57C21A368}"/>
              </a:ext>
            </a:extLst>
          </p:cNvPr>
          <p:cNvSpPr/>
          <p:nvPr/>
        </p:nvSpPr>
        <p:spPr>
          <a:xfrm>
            <a:off x="2200381" y="4569042"/>
            <a:ext cx="5557643" cy="306358"/>
          </a:xfrm>
          <a:custGeom>
            <a:avLst/>
            <a:gdLst>
              <a:gd name="connsiteX0" fmla="*/ 0 w 6563755"/>
              <a:gd name="connsiteY0" fmla="*/ 0 h 408477"/>
              <a:gd name="connsiteX1" fmla="*/ 6563755 w 6563755"/>
              <a:gd name="connsiteY1" fmla="*/ 0 h 408477"/>
              <a:gd name="connsiteX2" fmla="*/ 6563755 w 6563755"/>
              <a:gd name="connsiteY2" fmla="*/ 408477 h 408477"/>
              <a:gd name="connsiteX3" fmla="*/ 0 w 6563755"/>
              <a:gd name="connsiteY3" fmla="*/ 408477 h 408477"/>
              <a:gd name="connsiteX4" fmla="*/ 0 w 6563755"/>
              <a:gd name="connsiteY4" fmla="*/ 0 h 4084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563755" h="408477">
                <a:moveTo>
                  <a:pt x="0" y="0"/>
                </a:moveTo>
                <a:lnTo>
                  <a:pt x="6563755" y="0"/>
                </a:lnTo>
                <a:lnTo>
                  <a:pt x="6563755" y="408477"/>
                </a:lnTo>
                <a:lnTo>
                  <a:pt x="0" y="408477"/>
                </a:lnTo>
                <a:lnTo>
                  <a:pt x="0" y="0"/>
                </a:ln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58674" tIns="58674" rIns="58674" bIns="58674" numCol="1" spcCol="1270" anchor="ctr" anchorCtr="0">
            <a:noAutofit/>
          </a:bodyPr>
          <a:lstStyle/>
          <a:p>
            <a:pPr algn="ctr" defTabSz="366713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pt-BR" sz="825" dirty="0">
                <a:solidFill>
                  <a:prstClr val="white"/>
                </a:solidFill>
                <a:latin typeface="Calibri" panose="020F0502020204030204"/>
              </a:rPr>
              <a:t>CONTINUIDADE SISTEMAS E APLICAÇÕES </a:t>
            </a:r>
          </a:p>
        </p:txBody>
      </p:sp>
      <p:sp>
        <p:nvSpPr>
          <p:cNvPr id="14" name="Forma Livre: Forma 13">
            <a:extLst>
              <a:ext uri="{FF2B5EF4-FFF2-40B4-BE49-F238E27FC236}">
                <a16:creationId xmlns:a16="http://schemas.microsoft.com/office/drawing/2014/main" id="{7090FC35-6416-4D00-9CBA-EC367C045D8E}"/>
              </a:ext>
            </a:extLst>
          </p:cNvPr>
          <p:cNvSpPr/>
          <p:nvPr/>
        </p:nvSpPr>
        <p:spPr>
          <a:xfrm>
            <a:off x="2200381" y="4086003"/>
            <a:ext cx="5557643" cy="471179"/>
          </a:xfrm>
          <a:custGeom>
            <a:avLst/>
            <a:gdLst>
              <a:gd name="connsiteX0" fmla="*/ 0 w 6563755"/>
              <a:gd name="connsiteY0" fmla="*/ 220028 h 628238"/>
              <a:gd name="connsiteX1" fmla="*/ 3203348 w 6563755"/>
              <a:gd name="connsiteY1" fmla="*/ 220028 h 628238"/>
              <a:gd name="connsiteX2" fmla="*/ 3203348 w 6563755"/>
              <a:gd name="connsiteY2" fmla="*/ 157060 h 628238"/>
              <a:gd name="connsiteX3" fmla="*/ 3124818 w 6563755"/>
              <a:gd name="connsiteY3" fmla="*/ 157060 h 628238"/>
              <a:gd name="connsiteX4" fmla="*/ 3281878 w 6563755"/>
              <a:gd name="connsiteY4" fmla="*/ 0 h 628238"/>
              <a:gd name="connsiteX5" fmla="*/ 3438937 w 6563755"/>
              <a:gd name="connsiteY5" fmla="*/ 157060 h 628238"/>
              <a:gd name="connsiteX6" fmla="*/ 3360407 w 6563755"/>
              <a:gd name="connsiteY6" fmla="*/ 157060 h 628238"/>
              <a:gd name="connsiteX7" fmla="*/ 3360407 w 6563755"/>
              <a:gd name="connsiteY7" fmla="*/ 220028 h 628238"/>
              <a:gd name="connsiteX8" fmla="*/ 6563755 w 6563755"/>
              <a:gd name="connsiteY8" fmla="*/ 220028 h 628238"/>
              <a:gd name="connsiteX9" fmla="*/ 6563755 w 6563755"/>
              <a:gd name="connsiteY9" fmla="*/ 628238 h 628238"/>
              <a:gd name="connsiteX10" fmla="*/ 0 w 6563755"/>
              <a:gd name="connsiteY10" fmla="*/ 628238 h 628238"/>
              <a:gd name="connsiteX11" fmla="*/ 0 w 6563755"/>
              <a:gd name="connsiteY11" fmla="*/ 220028 h 6282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563755" h="628238">
                <a:moveTo>
                  <a:pt x="6563755" y="408210"/>
                </a:moveTo>
                <a:lnTo>
                  <a:pt x="3360407" y="408210"/>
                </a:lnTo>
                <a:lnTo>
                  <a:pt x="3360407" y="471178"/>
                </a:lnTo>
                <a:lnTo>
                  <a:pt x="3438937" y="471178"/>
                </a:lnTo>
                <a:lnTo>
                  <a:pt x="3281877" y="628237"/>
                </a:lnTo>
                <a:lnTo>
                  <a:pt x="3124818" y="471178"/>
                </a:lnTo>
                <a:lnTo>
                  <a:pt x="3203348" y="471178"/>
                </a:lnTo>
                <a:lnTo>
                  <a:pt x="3203348" y="408210"/>
                </a:lnTo>
                <a:lnTo>
                  <a:pt x="0" y="408210"/>
                </a:lnTo>
                <a:lnTo>
                  <a:pt x="0" y="1"/>
                </a:lnTo>
                <a:lnTo>
                  <a:pt x="6563755" y="1"/>
                </a:lnTo>
                <a:lnTo>
                  <a:pt x="6563755" y="408210"/>
                </a:ln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58673" tIns="58675" rIns="58674" bIns="223695" numCol="1" spcCol="1270" anchor="t" anchorCtr="0">
            <a:noAutofit/>
          </a:bodyPr>
          <a:lstStyle/>
          <a:p>
            <a:pPr algn="ctr" defTabSz="366713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pt-BR" sz="825" dirty="0">
                <a:solidFill>
                  <a:prstClr val="white"/>
                </a:solidFill>
                <a:latin typeface="Calibri" panose="020F0502020204030204"/>
              </a:rPr>
              <a:t>CSC - TECNOLOGIA</a:t>
            </a:r>
          </a:p>
        </p:txBody>
      </p:sp>
      <p:sp>
        <p:nvSpPr>
          <p:cNvPr id="15" name="Forma Livre: Forma 14">
            <a:extLst>
              <a:ext uri="{FF2B5EF4-FFF2-40B4-BE49-F238E27FC236}">
                <a16:creationId xmlns:a16="http://schemas.microsoft.com/office/drawing/2014/main" id="{CA34A6F7-EC64-4F45-B469-4570589BE5AF}"/>
              </a:ext>
            </a:extLst>
          </p:cNvPr>
          <p:cNvSpPr/>
          <p:nvPr/>
        </p:nvSpPr>
        <p:spPr>
          <a:xfrm>
            <a:off x="2200382" y="3608197"/>
            <a:ext cx="5557643" cy="471179"/>
          </a:xfrm>
          <a:custGeom>
            <a:avLst/>
            <a:gdLst>
              <a:gd name="connsiteX0" fmla="*/ 0 w 6563755"/>
              <a:gd name="connsiteY0" fmla="*/ 220028 h 628238"/>
              <a:gd name="connsiteX1" fmla="*/ 3203348 w 6563755"/>
              <a:gd name="connsiteY1" fmla="*/ 220028 h 628238"/>
              <a:gd name="connsiteX2" fmla="*/ 3203348 w 6563755"/>
              <a:gd name="connsiteY2" fmla="*/ 157060 h 628238"/>
              <a:gd name="connsiteX3" fmla="*/ 3124818 w 6563755"/>
              <a:gd name="connsiteY3" fmla="*/ 157060 h 628238"/>
              <a:gd name="connsiteX4" fmla="*/ 3281878 w 6563755"/>
              <a:gd name="connsiteY4" fmla="*/ 0 h 628238"/>
              <a:gd name="connsiteX5" fmla="*/ 3438937 w 6563755"/>
              <a:gd name="connsiteY5" fmla="*/ 157060 h 628238"/>
              <a:gd name="connsiteX6" fmla="*/ 3360407 w 6563755"/>
              <a:gd name="connsiteY6" fmla="*/ 157060 h 628238"/>
              <a:gd name="connsiteX7" fmla="*/ 3360407 w 6563755"/>
              <a:gd name="connsiteY7" fmla="*/ 220028 h 628238"/>
              <a:gd name="connsiteX8" fmla="*/ 6563755 w 6563755"/>
              <a:gd name="connsiteY8" fmla="*/ 220028 h 628238"/>
              <a:gd name="connsiteX9" fmla="*/ 6563755 w 6563755"/>
              <a:gd name="connsiteY9" fmla="*/ 628238 h 628238"/>
              <a:gd name="connsiteX10" fmla="*/ 0 w 6563755"/>
              <a:gd name="connsiteY10" fmla="*/ 628238 h 628238"/>
              <a:gd name="connsiteX11" fmla="*/ 0 w 6563755"/>
              <a:gd name="connsiteY11" fmla="*/ 220028 h 6282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563755" h="628238">
                <a:moveTo>
                  <a:pt x="6563755" y="408210"/>
                </a:moveTo>
                <a:lnTo>
                  <a:pt x="3360407" y="408210"/>
                </a:lnTo>
                <a:lnTo>
                  <a:pt x="3360407" y="471178"/>
                </a:lnTo>
                <a:lnTo>
                  <a:pt x="3438937" y="471178"/>
                </a:lnTo>
                <a:lnTo>
                  <a:pt x="3281877" y="628237"/>
                </a:lnTo>
                <a:lnTo>
                  <a:pt x="3124818" y="471178"/>
                </a:lnTo>
                <a:lnTo>
                  <a:pt x="3203348" y="471178"/>
                </a:lnTo>
                <a:lnTo>
                  <a:pt x="3203348" y="408210"/>
                </a:lnTo>
                <a:lnTo>
                  <a:pt x="0" y="408210"/>
                </a:lnTo>
                <a:lnTo>
                  <a:pt x="0" y="1"/>
                </a:lnTo>
                <a:lnTo>
                  <a:pt x="6563755" y="1"/>
                </a:lnTo>
                <a:lnTo>
                  <a:pt x="6563755" y="408210"/>
                </a:ln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58674" tIns="58674" rIns="58674" bIns="364470" numCol="1" spcCol="1270" anchor="ctr" anchorCtr="0">
            <a:noAutofit/>
          </a:bodyPr>
          <a:lstStyle/>
          <a:p>
            <a:pPr algn="ctr" defTabSz="366713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pt-BR" sz="825" dirty="0">
                <a:solidFill>
                  <a:prstClr val="white"/>
                </a:solidFill>
                <a:latin typeface="Calibri" panose="020F0502020204030204"/>
              </a:rPr>
              <a:t>DESENVOLVIMENTO</a:t>
            </a:r>
          </a:p>
        </p:txBody>
      </p:sp>
      <p:sp>
        <p:nvSpPr>
          <p:cNvPr id="17" name="Forma Livre: Forma 16">
            <a:extLst>
              <a:ext uri="{FF2B5EF4-FFF2-40B4-BE49-F238E27FC236}">
                <a16:creationId xmlns:a16="http://schemas.microsoft.com/office/drawing/2014/main" id="{2E73AAE0-A23F-4DF0-9F71-F714720AF9DF}"/>
              </a:ext>
            </a:extLst>
          </p:cNvPr>
          <p:cNvSpPr/>
          <p:nvPr/>
        </p:nvSpPr>
        <p:spPr>
          <a:xfrm>
            <a:off x="2200381" y="3766543"/>
            <a:ext cx="1625234" cy="143909"/>
          </a:xfrm>
          <a:custGeom>
            <a:avLst/>
            <a:gdLst>
              <a:gd name="connsiteX0" fmla="*/ 0 w 1461461"/>
              <a:gd name="connsiteY0" fmla="*/ 0 h 187843"/>
              <a:gd name="connsiteX1" fmla="*/ 1461461 w 1461461"/>
              <a:gd name="connsiteY1" fmla="*/ 0 h 187843"/>
              <a:gd name="connsiteX2" fmla="*/ 1461461 w 1461461"/>
              <a:gd name="connsiteY2" fmla="*/ 187843 h 187843"/>
              <a:gd name="connsiteX3" fmla="*/ 0 w 1461461"/>
              <a:gd name="connsiteY3" fmla="*/ 187843 h 187843"/>
              <a:gd name="connsiteX4" fmla="*/ 0 w 1461461"/>
              <a:gd name="connsiteY4" fmla="*/ 0 h 1878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61461" h="187843">
                <a:moveTo>
                  <a:pt x="0" y="0"/>
                </a:moveTo>
                <a:lnTo>
                  <a:pt x="1461461" y="0"/>
                </a:lnTo>
                <a:lnTo>
                  <a:pt x="1461461" y="187843"/>
                </a:lnTo>
                <a:lnTo>
                  <a:pt x="0" y="187843"/>
                </a:lnTo>
                <a:lnTo>
                  <a:pt x="0" y="0"/>
                </a:lnTo>
                <a:close/>
              </a:path>
            </a:pathLst>
          </a:custGeom>
        </p:spPr>
        <p:style>
          <a:lnRef idx="2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58674" tIns="10478" rIns="58674" bIns="10478" numCol="1" spcCol="1270" anchor="ctr" anchorCtr="0">
            <a:noAutofit/>
          </a:bodyPr>
          <a:lstStyle/>
          <a:p>
            <a:pPr algn="ctr" defTabSz="366713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pt-BR" sz="825" dirty="0"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latin typeface="Calibri" panose="020F0502020204030204"/>
              </a:rPr>
              <a:t>PACOTE FECHADO</a:t>
            </a:r>
          </a:p>
        </p:txBody>
      </p:sp>
      <p:sp>
        <p:nvSpPr>
          <p:cNvPr id="19" name="Forma Livre: Forma 18">
            <a:extLst>
              <a:ext uri="{FF2B5EF4-FFF2-40B4-BE49-F238E27FC236}">
                <a16:creationId xmlns:a16="http://schemas.microsoft.com/office/drawing/2014/main" id="{9B553DB1-4A78-44E2-B064-A4910824799E}"/>
              </a:ext>
            </a:extLst>
          </p:cNvPr>
          <p:cNvSpPr/>
          <p:nvPr/>
        </p:nvSpPr>
        <p:spPr>
          <a:xfrm>
            <a:off x="4154620" y="3765587"/>
            <a:ext cx="1625234" cy="144865"/>
          </a:xfrm>
          <a:custGeom>
            <a:avLst/>
            <a:gdLst>
              <a:gd name="connsiteX0" fmla="*/ 0 w 1461461"/>
              <a:gd name="connsiteY0" fmla="*/ 0 h 187843"/>
              <a:gd name="connsiteX1" fmla="*/ 1461461 w 1461461"/>
              <a:gd name="connsiteY1" fmla="*/ 0 h 187843"/>
              <a:gd name="connsiteX2" fmla="*/ 1461461 w 1461461"/>
              <a:gd name="connsiteY2" fmla="*/ 187843 h 187843"/>
              <a:gd name="connsiteX3" fmla="*/ 0 w 1461461"/>
              <a:gd name="connsiteY3" fmla="*/ 187843 h 187843"/>
              <a:gd name="connsiteX4" fmla="*/ 0 w 1461461"/>
              <a:gd name="connsiteY4" fmla="*/ 0 h 1878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61461" h="187843">
                <a:moveTo>
                  <a:pt x="0" y="0"/>
                </a:moveTo>
                <a:lnTo>
                  <a:pt x="1461461" y="0"/>
                </a:lnTo>
                <a:lnTo>
                  <a:pt x="1461461" y="187843"/>
                </a:lnTo>
                <a:lnTo>
                  <a:pt x="0" y="187843"/>
                </a:lnTo>
                <a:lnTo>
                  <a:pt x="0" y="0"/>
                </a:lnTo>
                <a:close/>
              </a:path>
            </a:pathLst>
          </a:custGeom>
        </p:spPr>
        <p:style>
          <a:lnRef idx="2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58674" tIns="10478" rIns="58674" bIns="10478" numCol="1" spcCol="1270" anchor="ctr" anchorCtr="0">
            <a:noAutofit/>
          </a:bodyPr>
          <a:lstStyle/>
          <a:p>
            <a:pPr algn="ctr" defTabSz="366713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pt-BR" sz="825" dirty="0"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latin typeface="Calibri" panose="020F0502020204030204"/>
              </a:rPr>
              <a:t>HOMOLOGAÇÃO</a:t>
            </a:r>
          </a:p>
        </p:txBody>
      </p:sp>
      <p:sp>
        <p:nvSpPr>
          <p:cNvPr id="20" name="Forma Livre: Forma 19">
            <a:extLst>
              <a:ext uri="{FF2B5EF4-FFF2-40B4-BE49-F238E27FC236}">
                <a16:creationId xmlns:a16="http://schemas.microsoft.com/office/drawing/2014/main" id="{48F53232-E708-4D70-93A6-E9A1A66FE52D}"/>
              </a:ext>
            </a:extLst>
          </p:cNvPr>
          <p:cNvSpPr/>
          <p:nvPr/>
        </p:nvSpPr>
        <p:spPr>
          <a:xfrm>
            <a:off x="2200382" y="3129742"/>
            <a:ext cx="3104902" cy="471179"/>
          </a:xfrm>
          <a:custGeom>
            <a:avLst/>
            <a:gdLst>
              <a:gd name="connsiteX0" fmla="*/ 0 w 6563755"/>
              <a:gd name="connsiteY0" fmla="*/ 220028 h 628238"/>
              <a:gd name="connsiteX1" fmla="*/ 3203348 w 6563755"/>
              <a:gd name="connsiteY1" fmla="*/ 220028 h 628238"/>
              <a:gd name="connsiteX2" fmla="*/ 3203348 w 6563755"/>
              <a:gd name="connsiteY2" fmla="*/ 157060 h 628238"/>
              <a:gd name="connsiteX3" fmla="*/ 3124818 w 6563755"/>
              <a:gd name="connsiteY3" fmla="*/ 157060 h 628238"/>
              <a:gd name="connsiteX4" fmla="*/ 3281878 w 6563755"/>
              <a:gd name="connsiteY4" fmla="*/ 0 h 628238"/>
              <a:gd name="connsiteX5" fmla="*/ 3438937 w 6563755"/>
              <a:gd name="connsiteY5" fmla="*/ 157060 h 628238"/>
              <a:gd name="connsiteX6" fmla="*/ 3360407 w 6563755"/>
              <a:gd name="connsiteY6" fmla="*/ 157060 h 628238"/>
              <a:gd name="connsiteX7" fmla="*/ 3360407 w 6563755"/>
              <a:gd name="connsiteY7" fmla="*/ 220028 h 628238"/>
              <a:gd name="connsiteX8" fmla="*/ 6563755 w 6563755"/>
              <a:gd name="connsiteY8" fmla="*/ 220028 h 628238"/>
              <a:gd name="connsiteX9" fmla="*/ 6563755 w 6563755"/>
              <a:gd name="connsiteY9" fmla="*/ 628238 h 628238"/>
              <a:gd name="connsiteX10" fmla="*/ 0 w 6563755"/>
              <a:gd name="connsiteY10" fmla="*/ 628238 h 628238"/>
              <a:gd name="connsiteX11" fmla="*/ 0 w 6563755"/>
              <a:gd name="connsiteY11" fmla="*/ 220028 h 6282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563755" h="628238">
                <a:moveTo>
                  <a:pt x="6563755" y="408210"/>
                </a:moveTo>
                <a:lnTo>
                  <a:pt x="3360407" y="408210"/>
                </a:lnTo>
                <a:lnTo>
                  <a:pt x="3360407" y="471178"/>
                </a:lnTo>
                <a:lnTo>
                  <a:pt x="3438937" y="471178"/>
                </a:lnTo>
                <a:lnTo>
                  <a:pt x="3281877" y="628237"/>
                </a:lnTo>
                <a:lnTo>
                  <a:pt x="3124818" y="471178"/>
                </a:lnTo>
                <a:lnTo>
                  <a:pt x="3203348" y="471178"/>
                </a:lnTo>
                <a:lnTo>
                  <a:pt x="3203348" y="408210"/>
                </a:lnTo>
                <a:lnTo>
                  <a:pt x="0" y="408210"/>
                </a:lnTo>
                <a:lnTo>
                  <a:pt x="0" y="1"/>
                </a:lnTo>
                <a:lnTo>
                  <a:pt x="6563755" y="1"/>
                </a:lnTo>
                <a:lnTo>
                  <a:pt x="6563755" y="408210"/>
                </a:ln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58673" tIns="58674" rIns="58674" bIns="223695" numCol="1" spcCol="1270" anchor="ctr" anchorCtr="0">
            <a:noAutofit/>
          </a:bodyPr>
          <a:lstStyle/>
          <a:p>
            <a:pPr algn="ctr" defTabSz="366713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pt-BR" sz="825" dirty="0">
                <a:solidFill>
                  <a:prstClr val="white"/>
                </a:solidFill>
                <a:latin typeface="Calibri" panose="020F0502020204030204"/>
              </a:rPr>
              <a:t>GAO/COMITÊ DE FINANÇAS</a:t>
            </a:r>
          </a:p>
        </p:txBody>
      </p:sp>
      <p:sp>
        <p:nvSpPr>
          <p:cNvPr id="21" name="Forma Livre: Forma 20">
            <a:extLst>
              <a:ext uri="{FF2B5EF4-FFF2-40B4-BE49-F238E27FC236}">
                <a16:creationId xmlns:a16="http://schemas.microsoft.com/office/drawing/2014/main" id="{622B89CE-0054-4167-B65B-AB2459C2A47D}"/>
              </a:ext>
            </a:extLst>
          </p:cNvPr>
          <p:cNvSpPr/>
          <p:nvPr/>
        </p:nvSpPr>
        <p:spPr>
          <a:xfrm>
            <a:off x="2207161" y="2184080"/>
            <a:ext cx="3104902" cy="471180"/>
          </a:xfrm>
          <a:custGeom>
            <a:avLst/>
            <a:gdLst>
              <a:gd name="connsiteX0" fmla="*/ 0 w 6563755"/>
              <a:gd name="connsiteY0" fmla="*/ 220028 h 628238"/>
              <a:gd name="connsiteX1" fmla="*/ 3203348 w 6563755"/>
              <a:gd name="connsiteY1" fmla="*/ 220028 h 628238"/>
              <a:gd name="connsiteX2" fmla="*/ 3203348 w 6563755"/>
              <a:gd name="connsiteY2" fmla="*/ 157060 h 628238"/>
              <a:gd name="connsiteX3" fmla="*/ 3124818 w 6563755"/>
              <a:gd name="connsiteY3" fmla="*/ 157060 h 628238"/>
              <a:gd name="connsiteX4" fmla="*/ 3281878 w 6563755"/>
              <a:gd name="connsiteY4" fmla="*/ 0 h 628238"/>
              <a:gd name="connsiteX5" fmla="*/ 3438937 w 6563755"/>
              <a:gd name="connsiteY5" fmla="*/ 157060 h 628238"/>
              <a:gd name="connsiteX6" fmla="*/ 3360407 w 6563755"/>
              <a:gd name="connsiteY6" fmla="*/ 157060 h 628238"/>
              <a:gd name="connsiteX7" fmla="*/ 3360407 w 6563755"/>
              <a:gd name="connsiteY7" fmla="*/ 220028 h 628238"/>
              <a:gd name="connsiteX8" fmla="*/ 6563755 w 6563755"/>
              <a:gd name="connsiteY8" fmla="*/ 220028 h 628238"/>
              <a:gd name="connsiteX9" fmla="*/ 6563755 w 6563755"/>
              <a:gd name="connsiteY9" fmla="*/ 628238 h 628238"/>
              <a:gd name="connsiteX10" fmla="*/ 0 w 6563755"/>
              <a:gd name="connsiteY10" fmla="*/ 628238 h 628238"/>
              <a:gd name="connsiteX11" fmla="*/ 0 w 6563755"/>
              <a:gd name="connsiteY11" fmla="*/ 220028 h 6282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563755" h="628238">
                <a:moveTo>
                  <a:pt x="6563755" y="408210"/>
                </a:moveTo>
                <a:lnTo>
                  <a:pt x="3360407" y="408210"/>
                </a:lnTo>
                <a:lnTo>
                  <a:pt x="3360407" y="471178"/>
                </a:lnTo>
                <a:lnTo>
                  <a:pt x="3438937" y="471178"/>
                </a:lnTo>
                <a:lnTo>
                  <a:pt x="3281877" y="628237"/>
                </a:lnTo>
                <a:lnTo>
                  <a:pt x="3124818" y="471178"/>
                </a:lnTo>
                <a:lnTo>
                  <a:pt x="3203348" y="471178"/>
                </a:lnTo>
                <a:lnTo>
                  <a:pt x="3203348" y="408210"/>
                </a:lnTo>
                <a:lnTo>
                  <a:pt x="0" y="408210"/>
                </a:lnTo>
                <a:lnTo>
                  <a:pt x="0" y="1"/>
                </a:lnTo>
                <a:lnTo>
                  <a:pt x="6563755" y="1"/>
                </a:lnTo>
                <a:lnTo>
                  <a:pt x="6563755" y="408210"/>
                </a:ln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58673" tIns="58675" rIns="58674" bIns="223696" numCol="1" spcCol="1270" anchor="ctr" anchorCtr="0">
            <a:noAutofit/>
          </a:bodyPr>
          <a:lstStyle/>
          <a:p>
            <a:pPr algn="ctr" defTabSz="366713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pt-BR" sz="825" dirty="0">
                <a:solidFill>
                  <a:prstClr val="white"/>
                </a:solidFill>
                <a:latin typeface="Calibri" panose="020F0502020204030204"/>
              </a:rPr>
              <a:t>GAO (GRUPO DE AVALIAÇÃO DE OPORTUNIDADES)</a:t>
            </a:r>
          </a:p>
        </p:txBody>
      </p:sp>
      <p:sp>
        <p:nvSpPr>
          <p:cNvPr id="22" name="Forma Livre: Forma 21">
            <a:extLst>
              <a:ext uri="{FF2B5EF4-FFF2-40B4-BE49-F238E27FC236}">
                <a16:creationId xmlns:a16="http://schemas.microsoft.com/office/drawing/2014/main" id="{CAAA2FF3-DDC1-45AA-AB26-49B51CB58467}"/>
              </a:ext>
            </a:extLst>
          </p:cNvPr>
          <p:cNvSpPr/>
          <p:nvPr/>
        </p:nvSpPr>
        <p:spPr>
          <a:xfrm>
            <a:off x="2211267" y="1717496"/>
            <a:ext cx="3104902" cy="471180"/>
          </a:xfrm>
          <a:custGeom>
            <a:avLst/>
            <a:gdLst>
              <a:gd name="connsiteX0" fmla="*/ 0 w 6563755"/>
              <a:gd name="connsiteY0" fmla="*/ 220028 h 628238"/>
              <a:gd name="connsiteX1" fmla="*/ 3203348 w 6563755"/>
              <a:gd name="connsiteY1" fmla="*/ 220028 h 628238"/>
              <a:gd name="connsiteX2" fmla="*/ 3203348 w 6563755"/>
              <a:gd name="connsiteY2" fmla="*/ 157060 h 628238"/>
              <a:gd name="connsiteX3" fmla="*/ 3124818 w 6563755"/>
              <a:gd name="connsiteY3" fmla="*/ 157060 h 628238"/>
              <a:gd name="connsiteX4" fmla="*/ 3281878 w 6563755"/>
              <a:gd name="connsiteY4" fmla="*/ 0 h 628238"/>
              <a:gd name="connsiteX5" fmla="*/ 3438937 w 6563755"/>
              <a:gd name="connsiteY5" fmla="*/ 157060 h 628238"/>
              <a:gd name="connsiteX6" fmla="*/ 3360407 w 6563755"/>
              <a:gd name="connsiteY6" fmla="*/ 157060 h 628238"/>
              <a:gd name="connsiteX7" fmla="*/ 3360407 w 6563755"/>
              <a:gd name="connsiteY7" fmla="*/ 220028 h 628238"/>
              <a:gd name="connsiteX8" fmla="*/ 6563755 w 6563755"/>
              <a:gd name="connsiteY8" fmla="*/ 220028 h 628238"/>
              <a:gd name="connsiteX9" fmla="*/ 6563755 w 6563755"/>
              <a:gd name="connsiteY9" fmla="*/ 628238 h 628238"/>
              <a:gd name="connsiteX10" fmla="*/ 0 w 6563755"/>
              <a:gd name="connsiteY10" fmla="*/ 628238 h 628238"/>
              <a:gd name="connsiteX11" fmla="*/ 0 w 6563755"/>
              <a:gd name="connsiteY11" fmla="*/ 220028 h 6282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563755" h="628238">
                <a:moveTo>
                  <a:pt x="6563755" y="408210"/>
                </a:moveTo>
                <a:lnTo>
                  <a:pt x="3360407" y="408210"/>
                </a:lnTo>
                <a:lnTo>
                  <a:pt x="3360407" y="471178"/>
                </a:lnTo>
                <a:lnTo>
                  <a:pt x="3438937" y="471178"/>
                </a:lnTo>
                <a:lnTo>
                  <a:pt x="3281877" y="628237"/>
                </a:lnTo>
                <a:lnTo>
                  <a:pt x="3124818" y="471178"/>
                </a:lnTo>
                <a:lnTo>
                  <a:pt x="3203348" y="471178"/>
                </a:lnTo>
                <a:lnTo>
                  <a:pt x="3203348" y="408210"/>
                </a:lnTo>
                <a:lnTo>
                  <a:pt x="0" y="408210"/>
                </a:lnTo>
                <a:lnTo>
                  <a:pt x="0" y="1"/>
                </a:lnTo>
                <a:lnTo>
                  <a:pt x="6563755" y="1"/>
                </a:lnTo>
                <a:lnTo>
                  <a:pt x="6563755" y="408210"/>
                </a:ln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58673" tIns="58675" rIns="58674" bIns="223696" numCol="1" spcCol="1270" anchor="ctr" anchorCtr="0">
            <a:noAutofit/>
          </a:bodyPr>
          <a:lstStyle/>
          <a:p>
            <a:pPr algn="ctr" defTabSz="366713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pt-BR" sz="825" dirty="0">
                <a:solidFill>
                  <a:prstClr val="white"/>
                </a:solidFill>
                <a:latin typeface="Calibri" panose="020F0502020204030204"/>
              </a:rPr>
              <a:t>ARQUITETURA NEGÓCIO</a:t>
            </a:r>
          </a:p>
        </p:txBody>
      </p:sp>
      <p:sp>
        <p:nvSpPr>
          <p:cNvPr id="23" name="Forma Livre: Forma 22">
            <a:extLst>
              <a:ext uri="{FF2B5EF4-FFF2-40B4-BE49-F238E27FC236}">
                <a16:creationId xmlns:a16="http://schemas.microsoft.com/office/drawing/2014/main" id="{354BC404-C28E-4D0A-B149-3BEC5DC609BA}"/>
              </a:ext>
            </a:extLst>
          </p:cNvPr>
          <p:cNvSpPr/>
          <p:nvPr/>
        </p:nvSpPr>
        <p:spPr>
          <a:xfrm>
            <a:off x="2211267" y="1250913"/>
            <a:ext cx="3104902" cy="471180"/>
          </a:xfrm>
          <a:custGeom>
            <a:avLst/>
            <a:gdLst>
              <a:gd name="connsiteX0" fmla="*/ 0 w 6563755"/>
              <a:gd name="connsiteY0" fmla="*/ 220028 h 628238"/>
              <a:gd name="connsiteX1" fmla="*/ 3203348 w 6563755"/>
              <a:gd name="connsiteY1" fmla="*/ 220028 h 628238"/>
              <a:gd name="connsiteX2" fmla="*/ 3203348 w 6563755"/>
              <a:gd name="connsiteY2" fmla="*/ 157060 h 628238"/>
              <a:gd name="connsiteX3" fmla="*/ 3124818 w 6563755"/>
              <a:gd name="connsiteY3" fmla="*/ 157060 h 628238"/>
              <a:gd name="connsiteX4" fmla="*/ 3281878 w 6563755"/>
              <a:gd name="connsiteY4" fmla="*/ 0 h 628238"/>
              <a:gd name="connsiteX5" fmla="*/ 3438937 w 6563755"/>
              <a:gd name="connsiteY5" fmla="*/ 157060 h 628238"/>
              <a:gd name="connsiteX6" fmla="*/ 3360407 w 6563755"/>
              <a:gd name="connsiteY6" fmla="*/ 157060 h 628238"/>
              <a:gd name="connsiteX7" fmla="*/ 3360407 w 6563755"/>
              <a:gd name="connsiteY7" fmla="*/ 220028 h 628238"/>
              <a:gd name="connsiteX8" fmla="*/ 6563755 w 6563755"/>
              <a:gd name="connsiteY8" fmla="*/ 220028 h 628238"/>
              <a:gd name="connsiteX9" fmla="*/ 6563755 w 6563755"/>
              <a:gd name="connsiteY9" fmla="*/ 628238 h 628238"/>
              <a:gd name="connsiteX10" fmla="*/ 0 w 6563755"/>
              <a:gd name="connsiteY10" fmla="*/ 628238 h 628238"/>
              <a:gd name="connsiteX11" fmla="*/ 0 w 6563755"/>
              <a:gd name="connsiteY11" fmla="*/ 220028 h 6282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563755" h="628238">
                <a:moveTo>
                  <a:pt x="6563755" y="408210"/>
                </a:moveTo>
                <a:lnTo>
                  <a:pt x="3360407" y="408210"/>
                </a:lnTo>
                <a:lnTo>
                  <a:pt x="3360407" y="471178"/>
                </a:lnTo>
                <a:lnTo>
                  <a:pt x="3438937" y="471178"/>
                </a:lnTo>
                <a:lnTo>
                  <a:pt x="3281877" y="628237"/>
                </a:lnTo>
                <a:lnTo>
                  <a:pt x="3124818" y="471178"/>
                </a:lnTo>
                <a:lnTo>
                  <a:pt x="3203348" y="471178"/>
                </a:lnTo>
                <a:lnTo>
                  <a:pt x="3203348" y="408210"/>
                </a:lnTo>
                <a:lnTo>
                  <a:pt x="0" y="408210"/>
                </a:lnTo>
                <a:lnTo>
                  <a:pt x="0" y="1"/>
                </a:lnTo>
                <a:lnTo>
                  <a:pt x="6563755" y="1"/>
                </a:lnTo>
                <a:lnTo>
                  <a:pt x="6563755" y="408210"/>
                </a:ln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58673" tIns="58675" rIns="58674" bIns="223696" numCol="1" spcCol="1270" anchor="ctr" anchorCtr="0">
            <a:noAutofit/>
          </a:bodyPr>
          <a:lstStyle/>
          <a:p>
            <a:pPr algn="ctr" defTabSz="366713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pt-BR" sz="825" dirty="0">
                <a:solidFill>
                  <a:prstClr val="white"/>
                </a:solidFill>
                <a:latin typeface="Calibri" panose="020F0502020204030204"/>
              </a:rPr>
              <a:t>NOVOS NEGÓCIOS</a:t>
            </a:r>
          </a:p>
        </p:txBody>
      </p:sp>
      <p:sp>
        <p:nvSpPr>
          <p:cNvPr id="9" name="Retângulo 8">
            <a:extLst>
              <a:ext uri="{FF2B5EF4-FFF2-40B4-BE49-F238E27FC236}">
                <a16:creationId xmlns:a16="http://schemas.microsoft.com/office/drawing/2014/main" id="{4C89DBA4-9945-4DE5-ABF3-340101C60468}"/>
              </a:ext>
            </a:extLst>
          </p:cNvPr>
          <p:cNvSpPr/>
          <p:nvPr/>
        </p:nvSpPr>
        <p:spPr>
          <a:xfrm>
            <a:off x="855785" y="2184079"/>
            <a:ext cx="654397" cy="2691320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>
                <a:solidFill>
                  <a:prstClr val="black"/>
                </a:solidFill>
                <a:latin typeface="Calibri" panose="020F0502020204030204"/>
              </a:rPr>
              <a:t>PMO</a:t>
            </a:r>
          </a:p>
          <a:p>
            <a:pPr algn="ctr"/>
            <a:r>
              <a:rPr lang="pt-BR" dirty="0">
                <a:solidFill>
                  <a:prstClr val="black"/>
                </a:solidFill>
                <a:latin typeface="Calibri" panose="020F0502020204030204"/>
              </a:rPr>
              <a:t>CORP.</a:t>
            </a:r>
          </a:p>
        </p:txBody>
      </p:sp>
      <p:sp>
        <p:nvSpPr>
          <p:cNvPr id="11" name="Retângulo 10">
            <a:extLst>
              <a:ext uri="{FF2B5EF4-FFF2-40B4-BE49-F238E27FC236}">
                <a16:creationId xmlns:a16="http://schemas.microsoft.com/office/drawing/2014/main" id="{CBDF3593-F1CD-4867-8E12-9AEFCEC466B5}"/>
              </a:ext>
            </a:extLst>
          </p:cNvPr>
          <p:cNvSpPr/>
          <p:nvPr/>
        </p:nvSpPr>
        <p:spPr>
          <a:xfrm>
            <a:off x="1551745" y="2184079"/>
            <a:ext cx="544982" cy="2691320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>
                <a:solidFill>
                  <a:prstClr val="black"/>
                </a:solidFill>
                <a:latin typeface="Calibri" panose="020F0502020204030204"/>
              </a:rPr>
              <a:t> LPM</a:t>
            </a:r>
          </a:p>
        </p:txBody>
      </p:sp>
      <p:sp>
        <p:nvSpPr>
          <p:cNvPr id="3" name="Seta: para Baixo 2">
            <a:extLst>
              <a:ext uri="{FF2B5EF4-FFF2-40B4-BE49-F238E27FC236}">
                <a16:creationId xmlns:a16="http://schemas.microsoft.com/office/drawing/2014/main" id="{6CF250C3-3DCC-407B-A2CC-E990AEBBE111}"/>
              </a:ext>
            </a:extLst>
          </p:cNvPr>
          <p:cNvSpPr/>
          <p:nvPr/>
        </p:nvSpPr>
        <p:spPr>
          <a:xfrm>
            <a:off x="6411920" y="1544452"/>
            <a:ext cx="263450" cy="2081402"/>
          </a:xfrm>
          <a:prstGeom prst="downArrow">
            <a:avLst>
              <a:gd name="adj1" fmla="val 41777"/>
              <a:gd name="adj2" fmla="val 71383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6" name="Forma Livre: Forma 15">
            <a:extLst>
              <a:ext uri="{FF2B5EF4-FFF2-40B4-BE49-F238E27FC236}">
                <a16:creationId xmlns:a16="http://schemas.microsoft.com/office/drawing/2014/main" id="{4BEC95C7-1480-4497-BF29-5E75BDF5346E}"/>
              </a:ext>
            </a:extLst>
          </p:cNvPr>
          <p:cNvSpPr/>
          <p:nvPr/>
        </p:nvSpPr>
        <p:spPr>
          <a:xfrm>
            <a:off x="6484854" y="1508532"/>
            <a:ext cx="1251056" cy="108013"/>
          </a:xfrm>
          <a:custGeom>
            <a:avLst/>
            <a:gdLst>
              <a:gd name="connsiteX0" fmla="*/ 0 w 2176495"/>
              <a:gd name="connsiteY0" fmla="*/ 0 h 243335"/>
              <a:gd name="connsiteX1" fmla="*/ 2176495 w 2176495"/>
              <a:gd name="connsiteY1" fmla="*/ 0 h 243335"/>
              <a:gd name="connsiteX2" fmla="*/ 2176495 w 2176495"/>
              <a:gd name="connsiteY2" fmla="*/ 243335 h 243335"/>
              <a:gd name="connsiteX3" fmla="*/ 0 w 2176495"/>
              <a:gd name="connsiteY3" fmla="*/ 243335 h 243335"/>
              <a:gd name="connsiteX4" fmla="*/ 0 w 2176495"/>
              <a:gd name="connsiteY4" fmla="*/ 0 h 243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76495" h="243335">
                <a:moveTo>
                  <a:pt x="0" y="0"/>
                </a:moveTo>
                <a:lnTo>
                  <a:pt x="2176495" y="0"/>
                </a:lnTo>
                <a:lnTo>
                  <a:pt x="2176495" y="243335"/>
                </a:lnTo>
                <a:lnTo>
                  <a:pt x="0" y="243335"/>
                </a:lnTo>
                <a:lnTo>
                  <a:pt x="0" y="0"/>
                </a:lnTo>
                <a:close/>
              </a:path>
            </a:pathLst>
          </a:custGeom>
        </p:spPr>
        <p:style>
          <a:lnRef idx="2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58674" tIns="10478" rIns="58674" bIns="10478" numCol="1" spcCol="1270" anchor="ctr" anchorCtr="0">
            <a:noAutofit/>
          </a:bodyPr>
          <a:lstStyle/>
          <a:p>
            <a:pPr algn="ctr" defTabSz="366713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pt-BR" sz="825" dirty="0"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latin typeface="Calibri" panose="020F0502020204030204"/>
              </a:rPr>
              <a:t>MESAS DE PERFORMANCE</a:t>
            </a:r>
          </a:p>
        </p:txBody>
      </p:sp>
      <p:sp>
        <p:nvSpPr>
          <p:cNvPr id="24" name="Forma Livre: Forma 23">
            <a:extLst>
              <a:ext uri="{FF2B5EF4-FFF2-40B4-BE49-F238E27FC236}">
                <a16:creationId xmlns:a16="http://schemas.microsoft.com/office/drawing/2014/main" id="{99CD29C8-7C0A-4D32-9BC0-C8A21E4A1BB0}"/>
              </a:ext>
            </a:extLst>
          </p:cNvPr>
          <p:cNvSpPr/>
          <p:nvPr/>
        </p:nvSpPr>
        <p:spPr>
          <a:xfrm>
            <a:off x="2200381" y="4261775"/>
            <a:ext cx="1625234" cy="143909"/>
          </a:xfrm>
          <a:custGeom>
            <a:avLst/>
            <a:gdLst>
              <a:gd name="connsiteX0" fmla="*/ 0 w 1461461"/>
              <a:gd name="connsiteY0" fmla="*/ 0 h 187843"/>
              <a:gd name="connsiteX1" fmla="*/ 1461461 w 1461461"/>
              <a:gd name="connsiteY1" fmla="*/ 0 h 187843"/>
              <a:gd name="connsiteX2" fmla="*/ 1461461 w 1461461"/>
              <a:gd name="connsiteY2" fmla="*/ 187843 h 187843"/>
              <a:gd name="connsiteX3" fmla="*/ 0 w 1461461"/>
              <a:gd name="connsiteY3" fmla="*/ 187843 h 187843"/>
              <a:gd name="connsiteX4" fmla="*/ 0 w 1461461"/>
              <a:gd name="connsiteY4" fmla="*/ 0 h 1878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61461" h="187843">
                <a:moveTo>
                  <a:pt x="0" y="0"/>
                </a:moveTo>
                <a:lnTo>
                  <a:pt x="1461461" y="0"/>
                </a:lnTo>
                <a:lnTo>
                  <a:pt x="1461461" y="187843"/>
                </a:lnTo>
                <a:lnTo>
                  <a:pt x="0" y="187843"/>
                </a:lnTo>
                <a:lnTo>
                  <a:pt x="0" y="0"/>
                </a:lnTo>
                <a:close/>
              </a:path>
            </a:pathLst>
          </a:custGeom>
        </p:spPr>
        <p:style>
          <a:lnRef idx="2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58674" tIns="10478" rIns="58674" bIns="10478" numCol="1" spcCol="1270" anchor="ctr" anchorCtr="0">
            <a:noAutofit/>
          </a:bodyPr>
          <a:lstStyle/>
          <a:p>
            <a:pPr algn="ctr" defTabSz="366713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pt-BR" sz="825" dirty="0"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latin typeface="Calibri" panose="020F0502020204030204"/>
              </a:rPr>
              <a:t>SEGURANÇA</a:t>
            </a:r>
          </a:p>
        </p:txBody>
      </p:sp>
      <p:sp>
        <p:nvSpPr>
          <p:cNvPr id="25" name="Forma Livre: Forma 24">
            <a:extLst>
              <a:ext uri="{FF2B5EF4-FFF2-40B4-BE49-F238E27FC236}">
                <a16:creationId xmlns:a16="http://schemas.microsoft.com/office/drawing/2014/main" id="{E8FC1A23-5AAF-49A8-B0C7-9799075726CC}"/>
              </a:ext>
            </a:extLst>
          </p:cNvPr>
          <p:cNvSpPr/>
          <p:nvPr/>
        </p:nvSpPr>
        <p:spPr>
          <a:xfrm>
            <a:off x="4154620" y="4261775"/>
            <a:ext cx="1629635" cy="143114"/>
          </a:xfrm>
          <a:custGeom>
            <a:avLst/>
            <a:gdLst>
              <a:gd name="connsiteX0" fmla="*/ 0 w 1461461"/>
              <a:gd name="connsiteY0" fmla="*/ 0 h 187843"/>
              <a:gd name="connsiteX1" fmla="*/ 1461461 w 1461461"/>
              <a:gd name="connsiteY1" fmla="*/ 0 h 187843"/>
              <a:gd name="connsiteX2" fmla="*/ 1461461 w 1461461"/>
              <a:gd name="connsiteY2" fmla="*/ 187843 h 187843"/>
              <a:gd name="connsiteX3" fmla="*/ 0 w 1461461"/>
              <a:gd name="connsiteY3" fmla="*/ 187843 h 187843"/>
              <a:gd name="connsiteX4" fmla="*/ 0 w 1461461"/>
              <a:gd name="connsiteY4" fmla="*/ 0 h 1878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61461" h="187843">
                <a:moveTo>
                  <a:pt x="0" y="0"/>
                </a:moveTo>
                <a:lnTo>
                  <a:pt x="1461461" y="0"/>
                </a:lnTo>
                <a:lnTo>
                  <a:pt x="1461461" y="187843"/>
                </a:lnTo>
                <a:lnTo>
                  <a:pt x="0" y="187843"/>
                </a:lnTo>
                <a:lnTo>
                  <a:pt x="0" y="0"/>
                </a:lnTo>
                <a:close/>
              </a:path>
            </a:pathLst>
          </a:custGeom>
        </p:spPr>
        <p:style>
          <a:lnRef idx="2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58674" tIns="10478" rIns="58674" bIns="10478" numCol="1" spcCol="1270" anchor="ctr" anchorCtr="0">
            <a:noAutofit/>
          </a:bodyPr>
          <a:lstStyle/>
          <a:p>
            <a:pPr algn="ctr" defTabSz="366713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pt-BR" sz="825" dirty="0"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latin typeface="Calibri" panose="020F0502020204030204"/>
              </a:rPr>
              <a:t>INFRAESTRUTURA</a:t>
            </a:r>
          </a:p>
        </p:txBody>
      </p:sp>
      <p:sp>
        <p:nvSpPr>
          <p:cNvPr id="26" name="Forma Livre: Forma 25">
            <a:extLst>
              <a:ext uri="{FF2B5EF4-FFF2-40B4-BE49-F238E27FC236}">
                <a16:creationId xmlns:a16="http://schemas.microsoft.com/office/drawing/2014/main" id="{F72EC818-52E5-489B-B1A7-5F719222E706}"/>
              </a:ext>
            </a:extLst>
          </p:cNvPr>
          <p:cNvSpPr/>
          <p:nvPr/>
        </p:nvSpPr>
        <p:spPr>
          <a:xfrm>
            <a:off x="6003324" y="4260979"/>
            <a:ext cx="1743472" cy="154913"/>
          </a:xfrm>
          <a:custGeom>
            <a:avLst/>
            <a:gdLst>
              <a:gd name="connsiteX0" fmla="*/ 0 w 1461461"/>
              <a:gd name="connsiteY0" fmla="*/ 0 h 187843"/>
              <a:gd name="connsiteX1" fmla="*/ 1461461 w 1461461"/>
              <a:gd name="connsiteY1" fmla="*/ 0 h 187843"/>
              <a:gd name="connsiteX2" fmla="*/ 1461461 w 1461461"/>
              <a:gd name="connsiteY2" fmla="*/ 187843 h 187843"/>
              <a:gd name="connsiteX3" fmla="*/ 0 w 1461461"/>
              <a:gd name="connsiteY3" fmla="*/ 187843 h 187843"/>
              <a:gd name="connsiteX4" fmla="*/ 0 w 1461461"/>
              <a:gd name="connsiteY4" fmla="*/ 0 h 1878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61461" h="187843">
                <a:moveTo>
                  <a:pt x="0" y="0"/>
                </a:moveTo>
                <a:lnTo>
                  <a:pt x="1461461" y="0"/>
                </a:lnTo>
                <a:lnTo>
                  <a:pt x="1461461" y="187843"/>
                </a:lnTo>
                <a:lnTo>
                  <a:pt x="0" y="187843"/>
                </a:lnTo>
                <a:lnTo>
                  <a:pt x="0" y="0"/>
                </a:lnTo>
                <a:close/>
              </a:path>
            </a:pathLst>
          </a:custGeom>
        </p:spPr>
        <p:style>
          <a:lnRef idx="2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58674" tIns="10478" rIns="58674" bIns="10478" numCol="1" spcCol="1270" anchor="ctr" anchorCtr="0">
            <a:noAutofit/>
          </a:bodyPr>
          <a:lstStyle/>
          <a:p>
            <a:pPr algn="ctr" defTabSz="366713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pt-BR" sz="825" dirty="0"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latin typeface="Calibri" panose="020F0502020204030204"/>
              </a:rPr>
              <a:t>DEVOPS</a:t>
            </a:r>
          </a:p>
        </p:txBody>
      </p:sp>
      <p:sp>
        <p:nvSpPr>
          <p:cNvPr id="27" name="Forma Livre: Forma 26">
            <a:extLst>
              <a:ext uri="{FF2B5EF4-FFF2-40B4-BE49-F238E27FC236}">
                <a16:creationId xmlns:a16="http://schemas.microsoft.com/office/drawing/2014/main" id="{6D0F7C77-FF47-45F2-B8FB-877A50CE005B}"/>
              </a:ext>
            </a:extLst>
          </p:cNvPr>
          <p:cNvSpPr/>
          <p:nvPr/>
        </p:nvSpPr>
        <p:spPr>
          <a:xfrm>
            <a:off x="6014209" y="3765587"/>
            <a:ext cx="1730770" cy="144865"/>
          </a:xfrm>
          <a:custGeom>
            <a:avLst/>
            <a:gdLst>
              <a:gd name="connsiteX0" fmla="*/ 0 w 1461461"/>
              <a:gd name="connsiteY0" fmla="*/ 0 h 187843"/>
              <a:gd name="connsiteX1" fmla="*/ 1461461 w 1461461"/>
              <a:gd name="connsiteY1" fmla="*/ 0 h 187843"/>
              <a:gd name="connsiteX2" fmla="*/ 1461461 w 1461461"/>
              <a:gd name="connsiteY2" fmla="*/ 187843 h 187843"/>
              <a:gd name="connsiteX3" fmla="*/ 0 w 1461461"/>
              <a:gd name="connsiteY3" fmla="*/ 187843 h 187843"/>
              <a:gd name="connsiteX4" fmla="*/ 0 w 1461461"/>
              <a:gd name="connsiteY4" fmla="*/ 0 h 1878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61461" h="187843">
                <a:moveTo>
                  <a:pt x="0" y="0"/>
                </a:moveTo>
                <a:lnTo>
                  <a:pt x="1461461" y="0"/>
                </a:lnTo>
                <a:lnTo>
                  <a:pt x="1461461" y="187843"/>
                </a:lnTo>
                <a:lnTo>
                  <a:pt x="0" y="187843"/>
                </a:lnTo>
                <a:lnTo>
                  <a:pt x="0" y="0"/>
                </a:lnTo>
                <a:close/>
              </a:path>
            </a:pathLst>
          </a:custGeom>
        </p:spPr>
        <p:style>
          <a:lnRef idx="2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58674" tIns="10478" rIns="58674" bIns="10478" numCol="1" spcCol="1270" anchor="ctr" anchorCtr="0">
            <a:noAutofit/>
          </a:bodyPr>
          <a:lstStyle/>
          <a:p>
            <a:pPr algn="ctr" defTabSz="366713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pt-BR" sz="825" dirty="0"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latin typeface="Calibri" panose="020F0502020204030204"/>
              </a:rPr>
              <a:t>MESAS ÁGEIS</a:t>
            </a:r>
          </a:p>
        </p:txBody>
      </p:sp>
      <p:sp>
        <p:nvSpPr>
          <p:cNvPr id="36" name="Forma Livre: Forma 35">
            <a:extLst>
              <a:ext uri="{FF2B5EF4-FFF2-40B4-BE49-F238E27FC236}">
                <a16:creationId xmlns:a16="http://schemas.microsoft.com/office/drawing/2014/main" id="{B3DA119E-6CC3-4E41-9833-B44756FCE6BF}"/>
              </a:ext>
            </a:extLst>
          </p:cNvPr>
          <p:cNvSpPr/>
          <p:nvPr/>
        </p:nvSpPr>
        <p:spPr>
          <a:xfrm>
            <a:off x="2206936" y="2670737"/>
            <a:ext cx="3104902" cy="471180"/>
          </a:xfrm>
          <a:custGeom>
            <a:avLst/>
            <a:gdLst>
              <a:gd name="connsiteX0" fmla="*/ 0 w 6563755"/>
              <a:gd name="connsiteY0" fmla="*/ 220028 h 628238"/>
              <a:gd name="connsiteX1" fmla="*/ 3203348 w 6563755"/>
              <a:gd name="connsiteY1" fmla="*/ 220028 h 628238"/>
              <a:gd name="connsiteX2" fmla="*/ 3203348 w 6563755"/>
              <a:gd name="connsiteY2" fmla="*/ 157060 h 628238"/>
              <a:gd name="connsiteX3" fmla="*/ 3124818 w 6563755"/>
              <a:gd name="connsiteY3" fmla="*/ 157060 h 628238"/>
              <a:gd name="connsiteX4" fmla="*/ 3281878 w 6563755"/>
              <a:gd name="connsiteY4" fmla="*/ 0 h 628238"/>
              <a:gd name="connsiteX5" fmla="*/ 3438937 w 6563755"/>
              <a:gd name="connsiteY5" fmla="*/ 157060 h 628238"/>
              <a:gd name="connsiteX6" fmla="*/ 3360407 w 6563755"/>
              <a:gd name="connsiteY6" fmla="*/ 157060 h 628238"/>
              <a:gd name="connsiteX7" fmla="*/ 3360407 w 6563755"/>
              <a:gd name="connsiteY7" fmla="*/ 220028 h 628238"/>
              <a:gd name="connsiteX8" fmla="*/ 6563755 w 6563755"/>
              <a:gd name="connsiteY8" fmla="*/ 220028 h 628238"/>
              <a:gd name="connsiteX9" fmla="*/ 6563755 w 6563755"/>
              <a:gd name="connsiteY9" fmla="*/ 628238 h 628238"/>
              <a:gd name="connsiteX10" fmla="*/ 0 w 6563755"/>
              <a:gd name="connsiteY10" fmla="*/ 628238 h 628238"/>
              <a:gd name="connsiteX11" fmla="*/ 0 w 6563755"/>
              <a:gd name="connsiteY11" fmla="*/ 220028 h 6282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563755" h="628238">
                <a:moveTo>
                  <a:pt x="6563755" y="408210"/>
                </a:moveTo>
                <a:lnTo>
                  <a:pt x="3360407" y="408210"/>
                </a:lnTo>
                <a:lnTo>
                  <a:pt x="3360407" y="471178"/>
                </a:lnTo>
                <a:lnTo>
                  <a:pt x="3438937" y="471178"/>
                </a:lnTo>
                <a:lnTo>
                  <a:pt x="3281877" y="628237"/>
                </a:lnTo>
                <a:lnTo>
                  <a:pt x="3124818" y="471178"/>
                </a:lnTo>
                <a:lnTo>
                  <a:pt x="3203348" y="471178"/>
                </a:lnTo>
                <a:lnTo>
                  <a:pt x="3203348" y="408210"/>
                </a:lnTo>
                <a:lnTo>
                  <a:pt x="0" y="408210"/>
                </a:lnTo>
                <a:lnTo>
                  <a:pt x="0" y="1"/>
                </a:lnTo>
                <a:lnTo>
                  <a:pt x="6563755" y="1"/>
                </a:lnTo>
                <a:lnTo>
                  <a:pt x="6563755" y="408210"/>
                </a:ln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58673" tIns="58675" rIns="58674" bIns="223696" numCol="1" spcCol="1270" anchor="ctr" anchorCtr="0">
            <a:noAutofit/>
          </a:bodyPr>
          <a:lstStyle/>
          <a:p>
            <a:pPr algn="ctr" defTabSz="366713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pt-BR" sz="825" dirty="0">
                <a:solidFill>
                  <a:prstClr val="white"/>
                </a:solidFill>
                <a:latin typeface="Calibri" panose="020F0502020204030204"/>
              </a:rPr>
              <a:t>REFINAMENTO E ESTRATÉGIA DE ENTREGA</a:t>
            </a:r>
          </a:p>
        </p:txBody>
      </p:sp>
      <p:sp>
        <p:nvSpPr>
          <p:cNvPr id="30" name="Forma Livre: Forma 29">
            <a:extLst>
              <a:ext uri="{FF2B5EF4-FFF2-40B4-BE49-F238E27FC236}">
                <a16:creationId xmlns:a16="http://schemas.microsoft.com/office/drawing/2014/main" id="{EADE301E-6ED8-446C-A0AD-BAB26569F1CE}"/>
              </a:ext>
            </a:extLst>
          </p:cNvPr>
          <p:cNvSpPr/>
          <p:nvPr/>
        </p:nvSpPr>
        <p:spPr>
          <a:xfrm>
            <a:off x="3847046" y="1508532"/>
            <a:ext cx="1411797" cy="108013"/>
          </a:xfrm>
          <a:custGeom>
            <a:avLst/>
            <a:gdLst>
              <a:gd name="connsiteX0" fmla="*/ 0 w 2176495"/>
              <a:gd name="connsiteY0" fmla="*/ 0 h 243335"/>
              <a:gd name="connsiteX1" fmla="*/ 2176495 w 2176495"/>
              <a:gd name="connsiteY1" fmla="*/ 0 h 243335"/>
              <a:gd name="connsiteX2" fmla="*/ 2176495 w 2176495"/>
              <a:gd name="connsiteY2" fmla="*/ 243335 h 243335"/>
              <a:gd name="connsiteX3" fmla="*/ 0 w 2176495"/>
              <a:gd name="connsiteY3" fmla="*/ 243335 h 243335"/>
              <a:gd name="connsiteX4" fmla="*/ 0 w 2176495"/>
              <a:gd name="connsiteY4" fmla="*/ 0 h 243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76495" h="243335">
                <a:moveTo>
                  <a:pt x="0" y="0"/>
                </a:moveTo>
                <a:lnTo>
                  <a:pt x="2176495" y="0"/>
                </a:lnTo>
                <a:lnTo>
                  <a:pt x="2176495" y="243335"/>
                </a:lnTo>
                <a:lnTo>
                  <a:pt x="0" y="243335"/>
                </a:lnTo>
                <a:lnTo>
                  <a:pt x="0" y="0"/>
                </a:lnTo>
                <a:close/>
              </a:path>
            </a:pathLst>
          </a:custGeom>
        </p:spPr>
        <p:style>
          <a:lnRef idx="2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58674" tIns="10478" rIns="58674" bIns="10478" numCol="1" spcCol="1270" anchor="ctr" anchorCtr="0">
            <a:noAutofit/>
          </a:bodyPr>
          <a:lstStyle/>
          <a:p>
            <a:pPr algn="ctr" defTabSz="366713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pt-BR" sz="825" dirty="0"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latin typeface="Calibri" panose="020F0502020204030204"/>
              </a:rPr>
              <a:t>DONOS DE OPORTUNIDADES</a:t>
            </a:r>
          </a:p>
        </p:txBody>
      </p:sp>
      <p:sp>
        <p:nvSpPr>
          <p:cNvPr id="31" name="Forma Livre: Forma 30">
            <a:extLst>
              <a:ext uri="{FF2B5EF4-FFF2-40B4-BE49-F238E27FC236}">
                <a16:creationId xmlns:a16="http://schemas.microsoft.com/office/drawing/2014/main" id="{BDED0E68-A75A-4302-AEC9-2300B91B5DEF}"/>
              </a:ext>
            </a:extLst>
          </p:cNvPr>
          <p:cNvSpPr/>
          <p:nvPr/>
        </p:nvSpPr>
        <p:spPr>
          <a:xfrm>
            <a:off x="3854990" y="1508532"/>
            <a:ext cx="1411797" cy="108013"/>
          </a:xfrm>
          <a:custGeom>
            <a:avLst/>
            <a:gdLst>
              <a:gd name="connsiteX0" fmla="*/ 0 w 2176495"/>
              <a:gd name="connsiteY0" fmla="*/ 0 h 243335"/>
              <a:gd name="connsiteX1" fmla="*/ 2176495 w 2176495"/>
              <a:gd name="connsiteY1" fmla="*/ 0 h 243335"/>
              <a:gd name="connsiteX2" fmla="*/ 2176495 w 2176495"/>
              <a:gd name="connsiteY2" fmla="*/ 243335 h 243335"/>
              <a:gd name="connsiteX3" fmla="*/ 0 w 2176495"/>
              <a:gd name="connsiteY3" fmla="*/ 243335 h 243335"/>
              <a:gd name="connsiteX4" fmla="*/ 0 w 2176495"/>
              <a:gd name="connsiteY4" fmla="*/ 0 h 243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76495" h="243335">
                <a:moveTo>
                  <a:pt x="0" y="0"/>
                </a:moveTo>
                <a:lnTo>
                  <a:pt x="2176495" y="0"/>
                </a:lnTo>
                <a:lnTo>
                  <a:pt x="2176495" y="243335"/>
                </a:lnTo>
                <a:lnTo>
                  <a:pt x="0" y="243335"/>
                </a:lnTo>
                <a:lnTo>
                  <a:pt x="0" y="0"/>
                </a:lnTo>
                <a:close/>
              </a:path>
            </a:pathLst>
          </a:custGeom>
        </p:spPr>
        <p:style>
          <a:lnRef idx="2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58674" tIns="10478" rIns="58674" bIns="10478" numCol="1" spcCol="1270" anchor="ctr" anchorCtr="0">
            <a:noAutofit/>
          </a:bodyPr>
          <a:lstStyle/>
          <a:p>
            <a:pPr algn="ctr" defTabSz="366713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pt-BR" sz="825" dirty="0"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latin typeface="Calibri" panose="020F0502020204030204"/>
              </a:rPr>
              <a:t>DONOS DE OPORTUNIDADES</a:t>
            </a:r>
          </a:p>
        </p:txBody>
      </p:sp>
      <p:sp>
        <p:nvSpPr>
          <p:cNvPr id="32" name="Forma Livre: Forma 31">
            <a:extLst>
              <a:ext uri="{FF2B5EF4-FFF2-40B4-BE49-F238E27FC236}">
                <a16:creationId xmlns:a16="http://schemas.microsoft.com/office/drawing/2014/main" id="{5AEF58FC-5B5C-48FF-B9D1-BA65393B021C}"/>
              </a:ext>
            </a:extLst>
          </p:cNvPr>
          <p:cNvSpPr/>
          <p:nvPr/>
        </p:nvSpPr>
        <p:spPr>
          <a:xfrm>
            <a:off x="2293143" y="1508532"/>
            <a:ext cx="1361308" cy="108013"/>
          </a:xfrm>
          <a:custGeom>
            <a:avLst/>
            <a:gdLst>
              <a:gd name="connsiteX0" fmla="*/ 0 w 2176495"/>
              <a:gd name="connsiteY0" fmla="*/ 0 h 243335"/>
              <a:gd name="connsiteX1" fmla="*/ 2176495 w 2176495"/>
              <a:gd name="connsiteY1" fmla="*/ 0 h 243335"/>
              <a:gd name="connsiteX2" fmla="*/ 2176495 w 2176495"/>
              <a:gd name="connsiteY2" fmla="*/ 243335 h 243335"/>
              <a:gd name="connsiteX3" fmla="*/ 0 w 2176495"/>
              <a:gd name="connsiteY3" fmla="*/ 243335 h 243335"/>
              <a:gd name="connsiteX4" fmla="*/ 0 w 2176495"/>
              <a:gd name="connsiteY4" fmla="*/ 0 h 243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76495" h="243335">
                <a:moveTo>
                  <a:pt x="0" y="0"/>
                </a:moveTo>
                <a:lnTo>
                  <a:pt x="2176495" y="0"/>
                </a:lnTo>
                <a:lnTo>
                  <a:pt x="2176495" y="243335"/>
                </a:lnTo>
                <a:lnTo>
                  <a:pt x="0" y="243335"/>
                </a:lnTo>
                <a:lnTo>
                  <a:pt x="0" y="0"/>
                </a:lnTo>
                <a:close/>
              </a:path>
            </a:pathLst>
          </a:custGeom>
        </p:spPr>
        <p:style>
          <a:lnRef idx="2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58674" tIns="10478" rIns="58674" bIns="10478" numCol="1" spcCol="1270" anchor="ctr" anchorCtr="0">
            <a:noAutofit/>
          </a:bodyPr>
          <a:lstStyle/>
          <a:p>
            <a:pPr algn="ctr" defTabSz="366713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pt-BR" sz="825" dirty="0"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latin typeface="Calibri" panose="020F0502020204030204"/>
              </a:rPr>
              <a:t>PRODUCT LEADERS</a:t>
            </a:r>
          </a:p>
        </p:txBody>
      </p:sp>
    </p:spTree>
    <p:extLst>
      <p:ext uri="{BB962C8B-B14F-4D97-AF65-F5344CB8AC3E}">
        <p14:creationId xmlns:p14="http://schemas.microsoft.com/office/powerpoint/2010/main" val="34955185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Retângulo: Cantos Arredondados 40">
            <a:extLst>
              <a:ext uri="{FF2B5EF4-FFF2-40B4-BE49-F238E27FC236}">
                <a16:creationId xmlns:a16="http://schemas.microsoft.com/office/drawing/2014/main" id="{6A5FCD42-F76B-46AB-A5FF-ECA7F02DBFCB}"/>
              </a:ext>
            </a:extLst>
          </p:cNvPr>
          <p:cNvSpPr/>
          <p:nvPr/>
        </p:nvSpPr>
        <p:spPr>
          <a:xfrm>
            <a:off x="2085962" y="3548909"/>
            <a:ext cx="5827115" cy="507241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2" name="Retângulo: Cantos Arredondados 41">
            <a:extLst>
              <a:ext uri="{FF2B5EF4-FFF2-40B4-BE49-F238E27FC236}">
                <a16:creationId xmlns:a16="http://schemas.microsoft.com/office/drawing/2014/main" id="{E3C54FE7-AFB1-4B7C-9C1E-993691167FA8}"/>
              </a:ext>
            </a:extLst>
          </p:cNvPr>
          <p:cNvSpPr/>
          <p:nvPr/>
        </p:nvSpPr>
        <p:spPr>
          <a:xfrm>
            <a:off x="2099852" y="2600639"/>
            <a:ext cx="3413119" cy="473319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3" name="Retângulo: Cantos Arredondados 42">
            <a:extLst>
              <a:ext uri="{FF2B5EF4-FFF2-40B4-BE49-F238E27FC236}">
                <a16:creationId xmlns:a16="http://schemas.microsoft.com/office/drawing/2014/main" id="{C034BCEA-7020-4ABC-BCA3-ECDCC3E2362F}"/>
              </a:ext>
            </a:extLst>
          </p:cNvPr>
          <p:cNvSpPr/>
          <p:nvPr/>
        </p:nvSpPr>
        <p:spPr>
          <a:xfrm>
            <a:off x="2096727" y="1651055"/>
            <a:ext cx="3413119" cy="473319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grpSp>
        <p:nvGrpSpPr>
          <p:cNvPr id="6" name="Agrupar 5">
            <a:extLst>
              <a:ext uri="{FF2B5EF4-FFF2-40B4-BE49-F238E27FC236}">
                <a16:creationId xmlns:a16="http://schemas.microsoft.com/office/drawing/2014/main" id="{BB7CB17E-A305-410B-8AAF-63A76A793862}"/>
              </a:ext>
            </a:extLst>
          </p:cNvPr>
          <p:cNvGrpSpPr/>
          <p:nvPr/>
        </p:nvGrpSpPr>
        <p:grpSpPr>
          <a:xfrm>
            <a:off x="5340151" y="1250913"/>
            <a:ext cx="2428760" cy="456077"/>
            <a:chOff x="0" y="3075"/>
            <a:chExt cx="7162800" cy="628238"/>
          </a:xfrm>
        </p:grpSpPr>
        <p:sp>
          <p:nvSpPr>
            <p:cNvPr id="7" name="Texto Explicativo: Seta para Cima 6">
              <a:extLst>
                <a:ext uri="{FF2B5EF4-FFF2-40B4-BE49-F238E27FC236}">
                  <a16:creationId xmlns:a16="http://schemas.microsoft.com/office/drawing/2014/main" id="{95A1F1D9-AD6D-4D06-B541-801BF119AC8A}"/>
                </a:ext>
              </a:extLst>
            </p:cNvPr>
            <p:cNvSpPr/>
            <p:nvPr/>
          </p:nvSpPr>
          <p:spPr>
            <a:xfrm rot="10800000">
              <a:off x="0" y="3075"/>
              <a:ext cx="7162800" cy="628238"/>
            </a:xfrm>
            <a:prstGeom prst="upArrowCallout">
              <a:avLst>
                <a:gd name="adj1" fmla="val 2262"/>
                <a:gd name="adj2" fmla="val 3518"/>
                <a:gd name="adj3" fmla="val 25000"/>
                <a:gd name="adj4" fmla="val 64977"/>
              </a:avLst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0" name="Texto Explicativo: Seta para Cima 4">
              <a:extLst>
                <a:ext uri="{FF2B5EF4-FFF2-40B4-BE49-F238E27FC236}">
                  <a16:creationId xmlns:a16="http://schemas.microsoft.com/office/drawing/2014/main" id="{821095FD-C44F-4030-AFAC-A81A6DEB4EDD}"/>
                </a:ext>
              </a:extLst>
            </p:cNvPr>
            <p:cNvSpPr txBox="1"/>
            <p:nvPr/>
          </p:nvSpPr>
          <p:spPr>
            <a:xfrm>
              <a:off x="0" y="16373"/>
              <a:ext cx="7162800" cy="39104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58674" tIns="58674" rIns="58674" bIns="58674" numCol="1" spcCol="1270" anchor="ctr" anchorCtr="0">
              <a:noAutofit/>
            </a:bodyPr>
            <a:lstStyle/>
            <a:p>
              <a:pPr algn="ctr" defTabSz="366713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pt-BR" sz="825" dirty="0">
                  <a:solidFill>
                    <a:prstClr val="white"/>
                  </a:solidFill>
                  <a:latin typeface="Calibri" panose="020F0502020204030204"/>
                </a:rPr>
                <a:t>PRODUTOS  BAU</a:t>
              </a:r>
            </a:p>
          </p:txBody>
        </p:sp>
      </p:grpSp>
      <p:sp>
        <p:nvSpPr>
          <p:cNvPr id="2" name="Espaço Reservado para Texto 1">
            <a:extLst>
              <a:ext uri="{FF2B5EF4-FFF2-40B4-BE49-F238E27FC236}">
                <a16:creationId xmlns:a16="http://schemas.microsoft.com/office/drawing/2014/main" id="{2A17CAE1-1CD7-44A4-BD33-013F2BDCB36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4203" y="575841"/>
            <a:ext cx="7953374" cy="383260"/>
          </a:xfrm>
        </p:spPr>
        <p:txBody>
          <a:bodyPr/>
          <a:lstStyle/>
          <a:p>
            <a:r>
              <a:rPr lang="pt-BR" dirty="0"/>
              <a:t>FLUXO DA </a:t>
            </a:r>
            <a:r>
              <a:rPr lang="pt-BR" dirty="0">
                <a:solidFill>
                  <a:schemeClr val="accent2">
                    <a:lumMod val="75000"/>
                  </a:schemeClr>
                </a:solidFill>
              </a:rPr>
              <a:t>OPORTUNIDADE	</a:t>
            </a:r>
          </a:p>
        </p:txBody>
      </p:sp>
      <p:sp>
        <p:nvSpPr>
          <p:cNvPr id="12" name="Forma Livre: Forma 11">
            <a:extLst>
              <a:ext uri="{FF2B5EF4-FFF2-40B4-BE49-F238E27FC236}">
                <a16:creationId xmlns:a16="http://schemas.microsoft.com/office/drawing/2014/main" id="{C7DDC616-E6C3-4CEC-AC24-CAB57C21A368}"/>
              </a:ext>
            </a:extLst>
          </p:cNvPr>
          <p:cNvSpPr/>
          <p:nvPr/>
        </p:nvSpPr>
        <p:spPr>
          <a:xfrm>
            <a:off x="2200381" y="4569042"/>
            <a:ext cx="5557643" cy="306358"/>
          </a:xfrm>
          <a:custGeom>
            <a:avLst/>
            <a:gdLst>
              <a:gd name="connsiteX0" fmla="*/ 0 w 6563755"/>
              <a:gd name="connsiteY0" fmla="*/ 0 h 408477"/>
              <a:gd name="connsiteX1" fmla="*/ 6563755 w 6563755"/>
              <a:gd name="connsiteY1" fmla="*/ 0 h 408477"/>
              <a:gd name="connsiteX2" fmla="*/ 6563755 w 6563755"/>
              <a:gd name="connsiteY2" fmla="*/ 408477 h 408477"/>
              <a:gd name="connsiteX3" fmla="*/ 0 w 6563755"/>
              <a:gd name="connsiteY3" fmla="*/ 408477 h 408477"/>
              <a:gd name="connsiteX4" fmla="*/ 0 w 6563755"/>
              <a:gd name="connsiteY4" fmla="*/ 0 h 4084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563755" h="408477">
                <a:moveTo>
                  <a:pt x="0" y="0"/>
                </a:moveTo>
                <a:lnTo>
                  <a:pt x="6563755" y="0"/>
                </a:lnTo>
                <a:lnTo>
                  <a:pt x="6563755" y="408477"/>
                </a:lnTo>
                <a:lnTo>
                  <a:pt x="0" y="408477"/>
                </a:lnTo>
                <a:lnTo>
                  <a:pt x="0" y="0"/>
                </a:ln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58674" tIns="58674" rIns="58674" bIns="58674" numCol="1" spcCol="1270" anchor="ctr" anchorCtr="0">
            <a:noAutofit/>
          </a:bodyPr>
          <a:lstStyle/>
          <a:p>
            <a:pPr algn="ctr" defTabSz="366713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pt-BR" sz="825" dirty="0">
                <a:solidFill>
                  <a:prstClr val="white"/>
                </a:solidFill>
                <a:latin typeface="Calibri" panose="020F0502020204030204"/>
              </a:rPr>
              <a:t>CONTINUIDADE SISTEMAS E APLICAÇÕES </a:t>
            </a:r>
          </a:p>
        </p:txBody>
      </p:sp>
      <p:sp>
        <p:nvSpPr>
          <p:cNvPr id="14" name="Forma Livre: Forma 13">
            <a:extLst>
              <a:ext uri="{FF2B5EF4-FFF2-40B4-BE49-F238E27FC236}">
                <a16:creationId xmlns:a16="http://schemas.microsoft.com/office/drawing/2014/main" id="{7090FC35-6416-4D00-9CBA-EC367C045D8E}"/>
              </a:ext>
            </a:extLst>
          </p:cNvPr>
          <p:cNvSpPr/>
          <p:nvPr/>
        </p:nvSpPr>
        <p:spPr>
          <a:xfrm>
            <a:off x="2200381" y="4086003"/>
            <a:ext cx="5557643" cy="471179"/>
          </a:xfrm>
          <a:custGeom>
            <a:avLst/>
            <a:gdLst>
              <a:gd name="connsiteX0" fmla="*/ 0 w 6563755"/>
              <a:gd name="connsiteY0" fmla="*/ 220028 h 628238"/>
              <a:gd name="connsiteX1" fmla="*/ 3203348 w 6563755"/>
              <a:gd name="connsiteY1" fmla="*/ 220028 h 628238"/>
              <a:gd name="connsiteX2" fmla="*/ 3203348 w 6563755"/>
              <a:gd name="connsiteY2" fmla="*/ 157060 h 628238"/>
              <a:gd name="connsiteX3" fmla="*/ 3124818 w 6563755"/>
              <a:gd name="connsiteY3" fmla="*/ 157060 h 628238"/>
              <a:gd name="connsiteX4" fmla="*/ 3281878 w 6563755"/>
              <a:gd name="connsiteY4" fmla="*/ 0 h 628238"/>
              <a:gd name="connsiteX5" fmla="*/ 3438937 w 6563755"/>
              <a:gd name="connsiteY5" fmla="*/ 157060 h 628238"/>
              <a:gd name="connsiteX6" fmla="*/ 3360407 w 6563755"/>
              <a:gd name="connsiteY6" fmla="*/ 157060 h 628238"/>
              <a:gd name="connsiteX7" fmla="*/ 3360407 w 6563755"/>
              <a:gd name="connsiteY7" fmla="*/ 220028 h 628238"/>
              <a:gd name="connsiteX8" fmla="*/ 6563755 w 6563755"/>
              <a:gd name="connsiteY8" fmla="*/ 220028 h 628238"/>
              <a:gd name="connsiteX9" fmla="*/ 6563755 w 6563755"/>
              <a:gd name="connsiteY9" fmla="*/ 628238 h 628238"/>
              <a:gd name="connsiteX10" fmla="*/ 0 w 6563755"/>
              <a:gd name="connsiteY10" fmla="*/ 628238 h 628238"/>
              <a:gd name="connsiteX11" fmla="*/ 0 w 6563755"/>
              <a:gd name="connsiteY11" fmla="*/ 220028 h 6282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563755" h="628238">
                <a:moveTo>
                  <a:pt x="6563755" y="408210"/>
                </a:moveTo>
                <a:lnTo>
                  <a:pt x="3360407" y="408210"/>
                </a:lnTo>
                <a:lnTo>
                  <a:pt x="3360407" y="471178"/>
                </a:lnTo>
                <a:lnTo>
                  <a:pt x="3438937" y="471178"/>
                </a:lnTo>
                <a:lnTo>
                  <a:pt x="3281877" y="628237"/>
                </a:lnTo>
                <a:lnTo>
                  <a:pt x="3124818" y="471178"/>
                </a:lnTo>
                <a:lnTo>
                  <a:pt x="3203348" y="471178"/>
                </a:lnTo>
                <a:lnTo>
                  <a:pt x="3203348" y="408210"/>
                </a:lnTo>
                <a:lnTo>
                  <a:pt x="0" y="408210"/>
                </a:lnTo>
                <a:lnTo>
                  <a:pt x="0" y="1"/>
                </a:lnTo>
                <a:lnTo>
                  <a:pt x="6563755" y="1"/>
                </a:lnTo>
                <a:lnTo>
                  <a:pt x="6563755" y="408210"/>
                </a:ln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58673" tIns="58675" rIns="58674" bIns="223695" numCol="1" spcCol="1270" anchor="t" anchorCtr="0">
            <a:noAutofit/>
          </a:bodyPr>
          <a:lstStyle/>
          <a:p>
            <a:pPr algn="ctr" defTabSz="366713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pt-BR" sz="825" dirty="0">
                <a:solidFill>
                  <a:prstClr val="white"/>
                </a:solidFill>
                <a:latin typeface="Calibri" panose="020F0502020204030204"/>
              </a:rPr>
              <a:t>CSC - TECNOLOGIA</a:t>
            </a:r>
          </a:p>
        </p:txBody>
      </p:sp>
      <p:sp>
        <p:nvSpPr>
          <p:cNvPr id="15" name="Forma Livre: Forma 14">
            <a:extLst>
              <a:ext uri="{FF2B5EF4-FFF2-40B4-BE49-F238E27FC236}">
                <a16:creationId xmlns:a16="http://schemas.microsoft.com/office/drawing/2014/main" id="{CA34A6F7-EC64-4F45-B469-4570589BE5AF}"/>
              </a:ext>
            </a:extLst>
          </p:cNvPr>
          <p:cNvSpPr/>
          <p:nvPr/>
        </p:nvSpPr>
        <p:spPr>
          <a:xfrm>
            <a:off x="2200382" y="3608197"/>
            <a:ext cx="5557643" cy="471179"/>
          </a:xfrm>
          <a:custGeom>
            <a:avLst/>
            <a:gdLst>
              <a:gd name="connsiteX0" fmla="*/ 0 w 6563755"/>
              <a:gd name="connsiteY0" fmla="*/ 220028 h 628238"/>
              <a:gd name="connsiteX1" fmla="*/ 3203348 w 6563755"/>
              <a:gd name="connsiteY1" fmla="*/ 220028 h 628238"/>
              <a:gd name="connsiteX2" fmla="*/ 3203348 w 6563755"/>
              <a:gd name="connsiteY2" fmla="*/ 157060 h 628238"/>
              <a:gd name="connsiteX3" fmla="*/ 3124818 w 6563755"/>
              <a:gd name="connsiteY3" fmla="*/ 157060 h 628238"/>
              <a:gd name="connsiteX4" fmla="*/ 3281878 w 6563755"/>
              <a:gd name="connsiteY4" fmla="*/ 0 h 628238"/>
              <a:gd name="connsiteX5" fmla="*/ 3438937 w 6563755"/>
              <a:gd name="connsiteY5" fmla="*/ 157060 h 628238"/>
              <a:gd name="connsiteX6" fmla="*/ 3360407 w 6563755"/>
              <a:gd name="connsiteY6" fmla="*/ 157060 h 628238"/>
              <a:gd name="connsiteX7" fmla="*/ 3360407 w 6563755"/>
              <a:gd name="connsiteY7" fmla="*/ 220028 h 628238"/>
              <a:gd name="connsiteX8" fmla="*/ 6563755 w 6563755"/>
              <a:gd name="connsiteY8" fmla="*/ 220028 h 628238"/>
              <a:gd name="connsiteX9" fmla="*/ 6563755 w 6563755"/>
              <a:gd name="connsiteY9" fmla="*/ 628238 h 628238"/>
              <a:gd name="connsiteX10" fmla="*/ 0 w 6563755"/>
              <a:gd name="connsiteY10" fmla="*/ 628238 h 628238"/>
              <a:gd name="connsiteX11" fmla="*/ 0 w 6563755"/>
              <a:gd name="connsiteY11" fmla="*/ 220028 h 6282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563755" h="628238">
                <a:moveTo>
                  <a:pt x="6563755" y="408210"/>
                </a:moveTo>
                <a:lnTo>
                  <a:pt x="3360407" y="408210"/>
                </a:lnTo>
                <a:lnTo>
                  <a:pt x="3360407" y="471178"/>
                </a:lnTo>
                <a:lnTo>
                  <a:pt x="3438937" y="471178"/>
                </a:lnTo>
                <a:lnTo>
                  <a:pt x="3281877" y="628237"/>
                </a:lnTo>
                <a:lnTo>
                  <a:pt x="3124818" y="471178"/>
                </a:lnTo>
                <a:lnTo>
                  <a:pt x="3203348" y="471178"/>
                </a:lnTo>
                <a:lnTo>
                  <a:pt x="3203348" y="408210"/>
                </a:lnTo>
                <a:lnTo>
                  <a:pt x="0" y="408210"/>
                </a:lnTo>
                <a:lnTo>
                  <a:pt x="0" y="1"/>
                </a:lnTo>
                <a:lnTo>
                  <a:pt x="6563755" y="1"/>
                </a:lnTo>
                <a:lnTo>
                  <a:pt x="6563755" y="408210"/>
                </a:ln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58674" tIns="58674" rIns="58674" bIns="364470" numCol="1" spcCol="1270" anchor="ctr" anchorCtr="0">
            <a:noAutofit/>
          </a:bodyPr>
          <a:lstStyle/>
          <a:p>
            <a:pPr algn="ctr" defTabSz="366713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pt-BR" sz="825" dirty="0">
                <a:solidFill>
                  <a:prstClr val="white"/>
                </a:solidFill>
                <a:latin typeface="Calibri" panose="020F0502020204030204"/>
              </a:rPr>
              <a:t>DESENVOLVIMENTO</a:t>
            </a:r>
          </a:p>
        </p:txBody>
      </p:sp>
      <p:sp>
        <p:nvSpPr>
          <p:cNvPr id="17" name="Forma Livre: Forma 16">
            <a:extLst>
              <a:ext uri="{FF2B5EF4-FFF2-40B4-BE49-F238E27FC236}">
                <a16:creationId xmlns:a16="http://schemas.microsoft.com/office/drawing/2014/main" id="{2E73AAE0-A23F-4DF0-9F71-F714720AF9DF}"/>
              </a:ext>
            </a:extLst>
          </p:cNvPr>
          <p:cNvSpPr/>
          <p:nvPr/>
        </p:nvSpPr>
        <p:spPr>
          <a:xfrm>
            <a:off x="2200381" y="3766543"/>
            <a:ext cx="1625234" cy="143909"/>
          </a:xfrm>
          <a:custGeom>
            <a:avLst/>
            <a:gdLst>
              <a:gd name="connsiteX0" fmla="*/ 0 w 1461461"/>
              <a:gd name="connsiteY0" fmla="*/ 0 h 187843"/>
              <a:gd name="connsiteX1" fmla="*/ 1461461 w 1461461"/>
              <a:gd name="connsiteY1" fmla="*/ 0 h 187843"/>
              <a:gd name="connsiteX2" fmla="*/ 1461461 w 1461461"/>
              <a:gd name="connsiteY2" fmla="*/ 187843 h 187843"/>
              <a:gd name="connsiteX3" fmla="*/ 0 w 1461461"/>
              <a:gd name="connsiteY3" fmla="*/ 187843 h 187843"/>
              <a:gd name="connsiteX4" fmla="*/ 0 w 1461461"/>
              <a:gd name="connsiteY4" fmla="*/ 0 h 1878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61461" h="187843">
                <a:moveTo>
                  <a:pt x="0" y="0"/>
                </a:moveTo>
                <a:lnTo>
                  <a:pt x="1461461" y="0"/>
                </a:lnTo>
                <a:lnTo>
                  <a:pt x="1461461" y="187843"/>
                </a:lnTo>
                <a:lnTo>
                  <a:pt x="0" y="187843"/>
                </a:lnTo>
                <a:lnTo>
                  <a:pt x="0" y="0"/>
                </a:lnTo>
                <a:close/>
              </a:path>
            </a:pathLst>
          </a:custGeom>
        </p:spPr>
        <p:style>
          <a:lnRef idx="2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58674" tIns="10478" rIns="58674" bIns="10478" numCol="1" spcCol="1270" anchor="ctr" anchorCtr="0">
            <a:noAutofit/>
          </a:bodyPr>
          <a:lstStyle/>
          <a:p>
            <a:pPr algn="ctr" defTabSz="366713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pt-BR" sz="825" dirty="0"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latin typeface="Calibri" panose="020F0502020204030204"/>
              </a:rPr>
              <a:t>PACOTE FECHADO</a:t>
            </a:r>
          </a:p>
        </p:txBody>
      </p:sp>
      <p:sp>
        <p:nvSpPr>
          <p:cNvPr id="19" name="Forma Livre: Forma 18">
            <a:extLst>
              <a:ext uri="{FF2B5EF4-FFF2-40B4-BE49-F238E27FC236}">
                <a16:creationId xmlns:a16="http://schemas.microsoft.com/office/drawing/2014/main" id="{9B553DB1-4A78-44E2-B064-A4910824799E}"/>
              </a:ext>
            </a:extLst>
          </p:cNvPr>
          <p:cNvSpPr/>
          <p:nvPr/>
        </p:nvSpPr>
        <p:spPr>
          <a:xfrm>
            <a:off x="4154620" y="3765587"/>
            <a:ext cx="1625234" cy="144865"/>
          </a:xfrm>
          <a:custGeom>
            <a:avLst/>
            <a:gdLst>
              <a:gd name="connsiteX0" fmla="*/ 0 w 1461461"/>
              <a:gd name="connsiteY0" fmla="*/ 0 h 187843"/>
              <a:gd name="connsiteX1" fmla="*/ 1461461 w 1461461"/>
              <a:gd name="connsiteY1" fmla="*/ 0 h 187843"/>
              <a:gd name="connsiteX2" fmla="*/ 1461461 w 1461461"/>
              <a:gd name="connsiteY2" fmla="*/ 187843 h 187843"/>
              <a:gd name="connsiteX3" fmla="*/ 0 w 1461461"/>
              <a:gd name="connsiteY3" fmla="*/ 187843 h 187843"/>
              <a:gd name="connsiteX4" fmla="*/ 0 w 1461461"/>
              <a:gd name="connsiteY4" fmla="*/ 0 h 1878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61461" h="187843">
                <a:moveTo>
                  <a:pt x="0" y="0"/>
                </a:moveTo>
                <a:lnTo>
                  <a:pt x="1461461" y="0"/>
                </a:lnTo>
                <a:lnTo>
                  <a:pt x="1461461" y="187843"/>
                </a:lnTo>
                <a:lnTo>
                  <a:pt x="0" y="187843"/>
                </a:lnTo>
                <a:lnTo>
                  <a:pt x="0" y="0"/>
                </a:lnTo>
                <a:close/>
              </a:path>
            </a:pathLst>
          </a:custGeom>
        </p:spPr>
        <p:style>
          <a:lnRef idx="2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58674" tIns="10478" rIns="58674" bIns="10478" numCol="1" spcCol="1270" anchor="ctr" anchorCtr="0">
            <a:noAutofit/>
          </a:bodyPr>
          <a:lstStyle/>
          <a:p>
            <a:pPr algn="ctr" defTabSz="366713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pt-BR" sz="825" dirty="0"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latin typeface="Calibri" panose="020F0502020204030204"/>
              </a:rPr>
              <a:t>HOMOLOGAÇÃO</a:t>
            </a:r>
          </a:p>
        </p:txBody>
      </p:sp>
      <p:sp>
        <p:nvSpPr>
          <p:cNvPr id="20" name="Forma Livre: Forma 19">
            <a:extLst>
              <a:ext uri="{FF2B5EF4-FFF2-40B4-BE49-F238E27FC236}">
                <a16:creationId xmlns:a16="http://schemas.microsoft.com/office/drawing/2014/main" id="{48F53232-E708-4D70-93A6-E9A1A66FE52D}"/>
              </a:ext>
            </a:extLst>
          </p:cNvPr>
          <p:cNvSpPr/>
          <p:nvPr/>
        </p:nvSpPr>
        <p:spPr>
          <a:xfrm>
            <a:off x="2200382" y="3129742"/>
            <a:ext cx="3104902" cy="471179"/>
          </a:xfrm>
          <a:custGeom>
            <a:avLst/>
            <a:gdLst>
              <a:gd name="connsiteX0" fmla="*/ 0 w 6563755"/>
              <a:gd name="connsiteY0" fmla="*/ 220028 h 628238"/>
              <a:gd name="connsiteX1" fmla="*/ 3203348 w 6563755"/>
              <a:gd name="connsiteY1" fmla="*/ 220028 h 628238"/>
              <a:gd name="connsiteX2" fmla="*/ 3203348 w 6563755"/>
              <a:gd name="connsiteY2" fmla="*/ 157060 h 628238"/>
              <a:gd name="connsiteX3" fmla="*/ 3124818 w 6563755"/>
              <a:gd name="connsiteY3" fmla="*/ 157060 h 628238"/>
              <a:gd name="connsiteX4" fmla="*/ 3281878 w 6563755"/>
              <a:gd name="connsiteY4" fmla="*/ 0 h 628238"/>
              <a:gd name="connsiteX5" fmla="*/ 3438937 w 6563755"/>
              <a:gd name="connsiteY5" fmla="*/ 157060 h 628238"/>
              <a:gd name="connsiteX6" fmla="*/ 3360407 w 6563755"/>
              <a:gd name="connsiteY6" fmla="*/ 157060 h 628238"/>
              <a:gd name="connsiteX7" fmla="*/ 3360407 w 6563755"/>
              <a:gd name="connsiteY7" fmla="*/ 220028 h 628238"/>
              <a:gd name="connsiteX8" fmla="*/ 6563755 w 6563755"/>
              <a:gd name="connsiteY8" fmla="*/ 220028 h 628238"/>
              <a:gd name="connsiteX9" fmla="*/ 6563755 w 6563755"/>
              <a:gd name="connsiteY9" fmla="*/ 628238 h 628238"/>
              <a:gd name="connsiteX10" fmla="*/ 0 w 6563755"/>
              <a:gd name="connsiteY10" fmla="*/ 628238 h 628238"/>
              <a:gd name="connsiteX11" fmla="*/ 0 w 6563755"/>
              <a:gd name="connsiteY11" fmla="*/ 220028 h 6282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563755" h="628238">
                <a:moveTo>
                  <a:pt x="6563755" y="408210"/>
                </a:moveTo>
                <a:lnTo>
                  <a:pt x="3360407" y="408210"/>
                </a:lnTo>
                <a:lnTo>
                  <a:pt x="3360407" y="471178"/>
                </a:lnTo>
                <a:lnTo>
                  <a:pt x="3438937" y="471178"/>
                </a:lnTo>
                <a:lnTo>
                  <a:pt x="3281877" y="628237"/>
                </a:lnTo>
                <a:lnTo>
                  <a:pt x="3124818" y="471178"/>
                </a:lnTo>
                <a:lnTo>
                  <a:pt x="3203348" y="471178"/>
                </a:lnTo>
                <a:lnTo>
                  <a:pt x="3203348" y="408210"/>
                </a:lnTo>
                <a:lnTo>
                  <a:pt x="0" y="408210"/>
                </a:lnTo>
                <a:lnTo>
                  <a:pt x="0" y="1"/>
                </a:lnTo>
                <a:lnTo>
                  <a:pt x="6563755" y="1"/>
                </a:lnTo>
                <a:lnTo>
                  <a:pt x="6563755" y="408210"/>
                </a:ln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58673" tIns="58674" rIns="58674" bIns="223695" numCol="1" spcCol="1270" anchor="ctr" anchorCtr="0">
            <a:noAutofit/>
          </a:bodyPr>
          <a:lstStyle/>
          <a:p>
            <a:pPr algn="ctr" defTabSz="366713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pt-BR" sz="825" dirty="0">
                <a:solidFill>
                  <a:prstClr val="white"/>
                </a:solidFill>
                <a:latin typeface="Calibri" panose="020F0502020204030204"/>
              </a:rPr>
              <a:t>GAO/COMITÊ DE FINANÇAS</a:t>
            </a:r>
          </a:p>
        </p:txBody>
      </p:sp>
      <p:sp>
        <p:nvSpPr>
          <p:cNvPr id="21" name="Forma Livre: Forma 20">
            <a:extLst>
              <a:ext uri="{FF2B5EF4-FFF2-40B4-BE49-F238E27FC236}">
                <a16:creationId xmlns:a16="http://schemas.microsoft.com/office/drawing/2014/main" id="{622B89CE-0054-4167-B65B-AB2459C2A47D}"/>
              </a:ext>
            </a:extLst>
          </p:cNvPr>
          <p:cNvSpPr/>
          <p:nvPr/>
        </p:nvSpPr>
        <p:spPr>
          <a:xfrm>
            <a:off x="2207161" y="2184080"/>
            <a:ext cx="3104902" cy="471180"/>
          </a:xfrm>
          <a:custGeom>
            <a:avLst/>
            <a:gdLst>
              <a:gd name="connsiteX0" fmla="*/ 0 w 6563755"/>
              <a:gd name="connsiteY0" fmla="*/ 220028 h 628238"/>
              <a:gd name="connsiteX1" fmla="*/ 3203348 w 6563755"/>
              <a:gd name="connsiteY1" fmla="*/ 220028 h 628238"/>
              <a:gd name="connsiteX2" fmla="*/ 3203348 w 6563755"/>
              <a:gd name="connsiteY2" fmla="*/ 157060 h 628238"/>
              <a:gd name="connsiteX3" fmla="*/ 3124818 w 6563755"/>
              <a:gd name="connsiteY3" fmla="*/ 157060 h 628238"/>
              <a:gd name="connsiteX4" fmla="*/ 3281878 w 6563755"/>
              <a:gd name="connsiteY4" fmla="*/ 0 h 628238"/>
              <a:gd name="connsiteX5" fmla="*/ 3438937 w 6563755"/>
              <a:gd name="connsiteY5" fmla="*/ 157060 h 628238"/>
              <a:gd name="connsiteX6" fmla="*/ 3360407 w 6563755"/>
              <a:gd name="connsiteY6" fmla="*/ 157060 h 628238"/>
              <a:gd name="connsiteX7" fmla="*/ 3360407 w 6563755"/>
              <a:gd name="connsiteY7" fmla="*/ 220028 h 628238"/>
              <a:gd name="connsiteX8" fmla="*/ 6563755 w 6563755"/>
              <a:gd name="connsiteY8" fmla="*/ 220028 h 628238"/>
              <a:gd name="connsiteX9" fmla="*/ 6563755 w 6563755"/>
              <a:gd name="connsiteY9" fmla="*/ 628238 h 628238"/>
              <a:gd name="connsiteX10" fmla="*/ 0 w 6563755"/>
              <a:gd name="connsiteY10" fmla="*/ 628238 h 628238"/>
              <a:gd name="connsiteX11" fmla="*/ 0 w 6563755"/>
              <a:gd name="connsiteY11" fmla="*/ 220028 h 6282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563755" h="628238">
                <a:moveTo>
                  <a:pt x="6563755" y="408210"/>
                </a:moveTo>
                <a:lnTo>
                  <a:pt x="3360407" y="408210"/>
                </a:lnTo>
                <a:lnTo>
                  <a:pt x="3360407" y="471178"/>
                </a:lnTo>
                <a:lnTo>
                  <a:pt x="3438937" y="471178"/>
                </a:lnTo>
                <a:lnTo>
                  <a:pt x="3281877" y="628237"/>
                </a:lnTo>
                <a:lnTo>
                  <a:pt x="3124818" y="471178"/>
                </a:lnTo>
                <a:lnTo>
                  <a:pt x="3203348" y="471178"/>
                </a:lnTo>
                <a:lnTo>
                  <a:pt x="3203348" y="408210"/>
                </a:lnTo>
                <a:lnTo>
                  <a:pt x="0" y="408210"/>
                </a:lnTo>
                <a:lnTo>
                  <a:pt x="0" y="1"/>
                </a:lnTo>
                <a:lnTo>
                  <a:pt x="6563755" y="1"/>
                </a:lnTo>
                <a:lnTo>
                  <a:pt x="6563755" y="408210"/>
                </a:ln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58673" tIns="58675" rIns="58674" bIns="223696" numCol="1" spcCol="1270" anchor="ctr" anchorCtr="0">
            <a:noAutofit/>
          </a:bodyPr>
          <a:lstStyle/>
          <a:p>
            <a:pPr algn="ctr" defTabSz="366713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pt-BR" sz="825" dirty="0">
                <a:solidFill>
                  <a:prstClr val="white"/>
                </a:solidFill>
                <a:latin typeface="Calibri" panose="020F0502020204030204"/>
              </a:rPr>
              <a:t>GAO (GRUPO DE AVALIAÇÃO DE OPORTUNIDADES)</a:t>
            </a:r>
          </a:p>
        </p:txBody>
      </p:sp>
      <p:sp>
        <p:nvSpPr>
          <p:cNvPr id="22" name="Forma Livre: Forma 21">
            <a:extLst>
              <a:ext uri="{FF2B5EF4-FFF2-40B4-BE49-F238E27FC236}">
                <a16:creationId xmlns:a16="http://schemas.microsoft.com/office/drawing/2014/main" id="{CAAA2FF3-DDC1-45AA-AB26-49B51CB58467}"/>
              </a:ext>
            </a:extLst>
          </p:cNvPr>
          <p:cNvSpPr/>
          <p:nvPr/>
        </p:nvSpPr>
        <p:spPr>
          <a:xfrm>
            <a:off x="2211267" y="1717496"/>
            <a:ext cx="3104902" cy="471180"/>
          </a:xfrm>
          <a:custGeom>
            <a:avLst/>
            <a:gdLst>
              <a:gd name="connsiteX0" fmla="*/ 0 w 6563755"/>
              <a:gd name="connsiteY0" fmla="*/ 220028 h 628238"/>
              <a:gd name="connsiteX1" fmla="*/ 3203348 w 6563755"/>
              <a:gd name="connsiteY1" fmla="*/ 220028 h 628238"/>
              <a:gd name="connsiteX2" fmla="*/ 3203348 w 6563755"/>
              <a:gd name="connsiteY2" fmla="*/ 157060 h 628238"/>
              <a:gd name="connsiteX3" fmla="*/ 3124818 w 6563755"/>
              <a:gd name="connsiteY3" fmla="*/ 157060 h 628238"/>
              <a:gd name="connsiteX4" fmla="*/ 3281878 w 6563755"/>
              <a:gd name="connsiteY4" fmla="*/ 0 h 628238"/>
              <a:gd name="connsiteX5" fmla="*/ 3438937 w 6563755"/>
              <a:gd name="connsiteY5" fmla="*/ 157060 h 628238"/>
              <a:gd name="connsiteX6" fmla="*/ 3360407 w 6563755"/>
              <a:gd name="connsiteY6" fmla="*/ 157060 h 628238"/>
              <a:gd name="connsiteX7" fmla="*/ 3360407 w 6563755"/>
              <a:gd name="connsiteY7" fmla="*/ 220028 h 628238"/>
              <a:gd name="connsiteX8" fmla="*/ 6563755 w 6563755"/>
              <a:gd name="connsiteY8" fmla="*/ 220028 h 628238"/>
              <a:gd name="connsiteX9" fmla="*/ 6563755 w 6563755"/>
              <a:gd name="connsiteY9" fmla="*/ 628238 h 628238"/>
              <a:gd name="connsiteX10" fmla="*/ 0 w 6563755"/>
              <a:gd name="connsiteY10" fmla="*/ 628238 h 628238"/>
              <a:gd name="connsiteX11" fmla="*/ 0 w 6563755"/>
              <a:gd name="connsiteY11" fmla="*/ 220028 h 6282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563755" h="628238">
                <a:moveTo>
                  <a:pt x="6563755" y="408210"/>
                </a:moveTo>
                <a:lnTo>
                  <a:pt x="3360407" y="408210"/>
                </a:lnTo>
                <a:lnTo>
                  <a:pt x="3360407" y="471178"/>
                </a:lnTo>
                <a:lnTo>
                  <a:pt x="3438937" y="471178"/>
                </a:lnTo>
                <a:lnTo>
                  <a:pt x="3281877" y="628237"/>
                </a:lnTo>
                <a:lnTo>
                  <a:pt x="3124818" y="471178"/>
                </a:lnTo>
                <a:lnTo>
                  <a:pt x="3203348" y="471178"/>
                </a:lnTo>
                <a:lnTo>
                  <a:pt x="3203348" y="408210"/>
                </a:lnTo>
                <a:lnTo>
                  <a:pt x="0" y="408210"/>
                </a:lnTo>
                <a:lnTo>
                  <a:pt x="0" y="1"/>
                </a:lnTo>
                <a:lnTo>
                  <a:pt x="6563755" y="1"/>
                </a:lnTo>
                <a:lnTo>
                  <a:pt x="6563755" y="408210"/>
                </a:ln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58673" tIns="58675" rIns="58674" bIns="223696" numCol="1" spcCol="1270" anchor="ctr" anchorCtr="0">
            <a:noAutofit/>
          </a:bodyPr>
          <a:lstStyle/>
          <a:p>
            <a:pPr algn="ctr" defTabSz="366713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pt-BR" sz="825" dirty="0">
                <a:solidFill>
                  <a:prstClr val="white"/>
                </a:solidFill>
                <a:latin typeface="Calibri" panose="020F0502020204030204"/>
              </a:rPr>
              <a:t>ARQUITETURA NEGÓCIO</a:t>
            </a:r>
          </a:p>
        </p:txBody>
      </p:sp>
      <p:sp>
        <p:nvSpPr>
          <p:cNvPr id="23" name="Forma Livre: Forma 22">
            <a:extLst>
              <a:ext uri="{FF2B5EF4-FFF2-40B4-BE49-F238E27FC236}">
                <a16:creationId xmlns:a16="http://schemas.microsoft.com/office/drawing/2014/main" id="{354BC404-C28E-4D0A-B149-3BEC5DC609BA}"/>
              </a:ext>
            </a:extLst>
          </p:cNvPr>
          <p:cNvSpPr/>
          <p:nvPr/>
        </p:nvSpPr>
        <p:spPr>
          <a:xfrm>
            <a:off x="2211267" y="1250913"/>
            <a:ext cx="3104902" cy="471180"/>
          </a:xfrm>
          <a:custGeom>
            <a:avLst/>
            <a:gdLst>
              <a:gd name="connsiteX0" fmla="*/ 0 w 6563755"/>
              <a:gd name="connsiteY0" fmla="*/ 220028 h 628238"/>
              <a:gd name="connsiteX1" fmla="*/ 3203348 w 6563755"/>
              <a:gd name="connsiteY1" fmla="*/ 220028 h 628238"/>
              <a:gd name="connsiteX2" fmla="*/ 3203348 w 6563755"/>
              <a:gd name="connsiteY2" fmla="*/ 157060 h 628238"/>
              <a:gd name="connsiteX3" fmla="*/ 3124818 w 6563755"/>
              <a:gd name="connsiteY3" fmla="*/ 157060 h 628238"/>
              <a:gd name="connsiteX4" fmla="*/ 3281878 w 6563755"/>
              <a:gd name="connsiteY4" fmla="*/ 0 h 628238"/>
              <a:gd name="connsiteX5" fmla="*/ 3438937 w 6563755"/>
              <a:gd name="connsiteY5" fmla="*/ 157060 h 628238"/>
              <a:gd name="connsiteX6" fmla="*/ 3360407 w 6563755"/>
              <a:gd name="connsiteY6" fmla="*/ 157060 h 628238"/>
              <a:gd name="connsiteX7" fmla="*/ 3360407 w 6563755"/>
              <a:gd name="connsiteY7" fmla="*/ 220028 h 628238"/>
              <a:gd name="connsiteX8" fmla="*/ 6563755 w 6563755"/>
              <a:gd name="connsiteY8" fmla="*/ 220028 h 628238"/>
              <a:gd name="connsiteX9" fmla="*/ 6563755 w 6563755"/>
              <a:gd name="connsiteY9" fmla="*/ 628238 h 628238"/>
              <a:gd name="connsiteX10" fmla="*/ 0 w 6563755"/>
              <a:gd name="connsiteY10" fmla="*/ 628238 h 628238"/>
              <a:gd name="connsiteX11" fmla="*/ 0 w 6563755"/>
              <a:gd name="connsiteY11" fmla="*/ 220028 h 6282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563755" h="628238">
                <a:moveTo>
                  <a:pt x="6563755" y="408210"/>
                </a:moveTo>
                <a:lnTo>
                  <a:pt x="3360407" y="408210"/>
                </a:lnTo>
                <a:lnTo>
                  <a:pt x="3360407" y="471178"/>
                </a:lnTo>
                <a:lnTo>
                  <a:pt x="3438937" y="471178"/>
                </a:lnTo>
                <a:lnTo>
                  <a:pt x="3281877" y="628237"/>
                </a:lnTo>
                <a:lnTo>
                  <a:pt x="3124818" y="471178"/>
                </a:lnTo>
                <a:lnTo>
                  <a:pt x="3203348" y="471178"/>
                </a:lnTo>
                <a:lnTo>
                  <a:pt x="3203348" y="408210"/>
                </a:lnTo>
                <a:lnTo>
                  <a:pt x="0" y="408210"/>
                </a:lnTo>
                <a:lnTo>
                  <a:pt x="0" y="1"/>
                </a:lnTo>
                <a:lnTo>
                  <a:pt x="6563755" y="1"/>
                </a:lnTo>
                <a:lnTo>
                  <a:pt x="6563755" y="408210"/>
                </a:ln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58673" tIns="58675" rIns="58674" bIns="223696" numCol="1" spcCol="1270" anchor="ctr" anchorCtr="0">
            <a:noAutofit/>
          </a:bodyPr>
          <a:lstStyle/>
          <a:p>
            <a:pPr algn="ctr" defTabSz="366713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pt-BR" sz="825" dirty="0">
                <a:solidFill>
                  <a:prstClr val="white"/>
                </a:solidFill>
                <a:latin typeface="Calibri" panose="020F0502020204030204"/>
              </a:rPr>
              <a:t>NOVOS NEGÓCIOS</a:t>
            </a:r>
          </a:p>
        </p:txBody>
      </p:sp>
      <p:sp>
        <p:nvSpPr>
          <p:cNvPr id="9" name="Retângulo 8">
            <a:extLst>
              <a:ext uri="{FF2B5EF4-FFF2-40B4-BE49-F238E27FC236}">
                <a16:creationId xmlns:a16="http://schemas.microsoft.com/office/drawing/2014/main" id="{4C89DBA4-9945-4DE5-ABF3-340101C60468}"/>
              </a:ext>
            </a:extLst>
          </p:cNvPr>
          <p:cNvSpPr/>
          <p:nvPr/>
        </p:nvSpPr>
        <p:spPr>
          <a:xfrm>
            <a:off x="965200" y="2184079"/>
            <a:ext cx="544982" cy="2691320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>
                <a:solidFill>
                  <a:prstClr val="black"/>
                </a:solidFill>
                <a:latin typeface="Calibri" panose="020F0502020204030204"/>
              </a:rPr>
              <a:t>PMO</a:t>
            </a:r>
          </a:p>
          <a:p>
            <a:pPr algn="ctr"/>
            <a:r>
              <a:rPr lang="pt-BR" dirty="0">
                <a:solidFill>
                  <a:prstClr val="black"/>
                </a:solidFill>
                <a:latin typeface="Calibri" panose="020F0502020204030204"/>
              </a:rPr>
              <a:t>CORP.</a:t>
            </a:r>
          </a:p>
        </p:txBody>
      </p:sp>
      <p:sp>
        <p:nvSpPr>
          <p:cNvPr id="11" name="Retângulo 10">
            <a:extLst>
              <a:ext uri="{FF2B5EF4-FFF2-40B4-BE49-F238E27FC236}">
                <a16:creationId xmlns:a16="http://schemas.microsoft.com/office/drawing/2014/main" id="{CBDF3593-F1CD-4867-8E12-9AEFCEC466B5}"/>
              </a:ext>
            </a:extLst>
          </p:cNvPr>
          <p:cNvSpPr/>
          <p:nvPr/>
        </p:nvSpPr>
        <p:spPr>
          <a:xfrm>
            <a:off x="1551745" y="2184079"/>
            <a:ext cx="544982" cy="2691320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>
                <a:solidFill>
                  <a:prstClr val="black"/>
                </a:solidFill>
                <a:latin typeface="Calibri" panose="020F0502020204030204"/>
              </a:rPr>
              <a:t> LPM</a:t>
            </a:r>
          </a:p>
        </p:txBody>
      </p:sp>
      <p:sp>
        <p:nvSpPr>
          <p:cNvPr id="3" name="Seta: para Baixo 2">
            <a:extLst>
              <a:ext uri="{FF2B5EF4-FFF2-40B4-BE49-F238E27FC236}">
                <a16:creationId xmlns:a16="http://schemas.microsoft.com/office/drawing/2014/main" id="{6CF250C3-3DCC-407B-A2CC-E990AEBBE111}"/>
              </a:ext>
            </a:extLst>
          </p:cNvPr>
          <p:cNvSpPr/>
          <p:nvPr/>
        </p:nvSpPr>
        <p:spPr>
          <a:xfrm>
            <a:off x="6411920" y="1544452"/>
            <a:ext cx="263450" cy="2081402"/>
          </a:xfrm>
          <a:prstGeom prst="downArrow">
            <a:avLst>
              <a:gd name="adj1" fmla="val 41777"/>
              <a:gd name="adj2" fmla="val 71383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6" name="Forma Livre: Forma 15">
            <a:extLst>
              <a:ext uri="{FF2B5EF4-FFF2-40B4-BE49-F238E27FC236}">
                <a16:creationId xmlns:a16="http://schemas.microsoft.com/office/drawing/2014/main" id="{4BEC95C7-1480-4497-BF29-5E75BDF5346E}"/>
              </a:ext>
            </a:extLst>
          </p:cNvPr>
          <p:cNvSpPr/>
          <p:nvPr/>
        </p:nvSpPr>
        <p:spPr>
          <a:xfrm>
            <a:off x="6484854" y="1508532"/>
            <a:ext cx="1251056" cy="108013"/>
          </a:xfrm>
          <a:custGeom>
            <a:avLst/>
            <a:gdLst>
              <a:gd name="connsiteX0" fmla="*/ 0 w 2176495"/>
              <a:gd name="connsiteY0" fmla="*/ 0 h 243335"/>
              <a:gd name="connsiteX1" fmla="*/ 2176495 w 2176495"/>
              <a:gd name="connsiteY1" fmla="*/ 0 h 243335"/>
              <a:gd name="connsiteX2" fmla="*/ 2176495 w 2176495"/>
              <a:gd name="connsiteY2" fmla="*/ 243335 h 243335"/>
              <a:gd name="connsiteX3" fmla="*/ 0 w 2176495"/>
              <a:gd name="connsiteY3" fmla="*/ 243335 h 243335"/>
              <a:gd name="connsiteX4" fmla="*/ 0 w 2176495"/>
              <a:gd name="connsiteY4" fmla="*/ 0 h 243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76495" h="243335">
                <a:moveTo>
                  <a:pt x="0" y="0"/>
                </a:moveTo>
                <a:lnTo>
                  <a:pt x="2176495" y="0"/>
                </a:lnTo>
                <a:lnTo>
                  <a:pt x="2176495" y="243335"/>
                </a:lnTo>
                <a:lnTo>
                  <a:pt x="0" y="243335"/>
                </a:lnTo>
                <a:lnTo>
                  <a:pt x="0" y="0"/>
                </a:lnTo>
                <a:close/>
              </a:path>
            </a:pathLst>
          </a:custGeom>
        </p:spPr>
        <p:style>
          <a:lnRef idx="2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58674" tIns="10478" rIns="58674" bIns="10478" numCol="1" spcCol="1270" anchor="ctr" anchorCtr="0">
            <a:noAutofit/>
          </a:bodyPr>
          <a:lstStyle/>
          <a:p>
            <a:pPr algn="ctr" defTabSz="366713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pt-BR" sz="825" dirty="0"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latin typeface="Calibri" panose="020F0502020204030204"/>
              </a:rPr>
              <a:t>MESAS DE PERFORMANCE</a:t>
            </a:r>
          </a:p>
        </p:txBody>
      </p:sp>
      <p:sp>
        <p:nvSpPr>
          <p:cNvPr id="24" name="Forma Livre: Forma 23">
            <a:extLst>
              <a:ext uri="{FF2B5EF4-FFF2-40B4-BE49-F238E27FC236}">
                <a16:creationId xmlns:a16="http://schemas.microsoft.com/office/drawing/2014/main" id="{99CD29C8-7C0A-4D32-9BC0-C8A21E4A1BB0}"/>
              </a:ext>
            </a:extLst>
          </p:cNvPr>
          <p:cNvSpPr/>
          <p:nvPr/>
        </p:nvSpPr>
        <p:spPr>
          <a:xfrm>
            <a:off x="2200381" y="4261775"/>
            <a:ext cx="1625234" cy="143909"/>
          </a:xfrm>
          <a:custGeom>
            <a:avLst/>
            <a:gdLst>
              <a:gd name="connsiteX0" fmla="*/ 0 w 1461461"/>
              <a:gd name="connsiteY0" fmla="*/ 0 h 187843"/>
              <a:gd name="connsiteX1" fmla="*/ 1461461 w 1461461"/>
              <a:gd name="connsiteY1" fmla="*/ 0 h 187843"/>
              <a:gd name="connsiteX2" fmla="*/ 1461461 w 1461461"/>
              <a:gd name="connsiteY2" fmla="*/ 187843 h 187843"/>
              <a:gd name="connsiteX3" fmla="*/ 0 w 1461461"/>
              <a:gd name="connsiteY3" fmla="*/ 187843 h 187843"/>
              <a:gd name="connsiteX4" fmla="*/ 0 w 1461461"/>
              <a:gd name="connsiteY4" fmla="*/ 0 h 1878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61461" h="187843">
                <a:moveTo>
                  <a:pt x="0" y="0"/>
                </a:moveTo>
                <a:lnTo>
                  <a:pt x="1461461" y="0"/>
                </a:lnTo>
                <a:lnTo>
                  <a:pt x="1461461" y="187843"/>
                </a:lnTo>
                <a:lnTo>
                  <a:pt x="0" y="187843"/>
                </a:lnTo>
                <a:lnTo>
                  <a:pt x="0" y="0"/>
                </a:lnTo>
                <a:close/>
              </a:path>
            </a:pathLst>
          </a:custGeom>
        </p:spPr>
        <p:style>
          <a:lnRef idx="2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58674" tIns="10478" rIns="58674" bIns="10478" numCol="1" spcCol="1270" anchor="ctr" anchorCtr="0">
            <a:noAutofit/>
          </a:bodyPr>
          <a:lstStyle/>
          <a:p>
            <a:pPr algn="ctr" defTabSz="366713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pt-BR" sz="825" dirty="0"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latin typeface="Calibri" panose="020F0502020204030204"/>
              </a:rPr>
              <a:t>SEGURANÇA</a:t>
            </a:r>
          </a:p>
        </p:txBody>
      </p:sp>
      <p:sp>
        <p:nvSpPr>
          <p:cNvPr id="25" name="Forma Livre: Forma 24">
            <a:extLst>
              <a:ext uri="{FF2B5EF4-FFF2-40B4-BE49-F238E27FC236}">
                <a16:creationId xmlns:a16="http://schemas.microsoft.com/office/drawing/2014/main" id="{E8FC1A23-5AAF-49A8-B0C7-9799075726CC}"/>
              </a:ext>
            </a:extLst>
          </p:cNvPr>
          <p:cNvSpPr/>
          <p:nvPr/>
        </p:nvSpPr>
        <p:spPr>
          <a:xfrm>
            <a:off x="4154620" y="4261775"/>
            <a:ext cx="1629635" cy="143114"/>
          </a:xfrm>
          <a:custGeom>
            <a:avLst/>
            <a:gdLst>
              <a:gd name="connsiteX0" fmla="*/ 0 w 1461461"/>
              <a:gd name="connsiteY0" fmla="*/ 0 h 187843"/>
              <a:gd name="connsiteX1" fmla="*/ 1461461 w 1461461"/>
              <a:gd name="connsiteY1" fmla="*/ 0 h 187843"/>
              <a:gd name="connsiteX2" fmla="*/ 1461461 w 1461461"/>
              <a:gd name="connsiteY2" fmla="*/ 187843 h 187843"/>
              <a:gd name="connsiteX3" fmla="*/ 0 w 1461461"/>
              <a:gd name="connsiteY3" fmla="*/ 187843 h 187843"/>
              <a:gd name="connsiteX4" fmla="*/ 0 w 1461461"/>
              <a:gd name="connsiteY4" fmla="*/ 0 h 1878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61461" h="187843">
                <a:moveTo>
                  <a:pt x="0" y="0"/>
                </a:moveTo>
                <a:lnTo>
                  <a:pt x="1461461" y="0"/>
                </a:lnTo>
                <a:lnTo>
                  <a:pt x="1461461" y="187843"/>
                </a:lnTo>
                <a:lnTo>
                  <a:pt x="0" y="187843"/>
                </a:lnTo>
                <a:lnTo>
                  <a:pt x="0" y="0"/>
                </a:lnTo>
                <a:close/>
              </a:path>
            </a:pathLst>
          </a:custGeom>
        </p:spPr>
        <p:style>
          <a:lnRef idx="2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58674" tIns="10478" rIns="58674" bIns="10478" numCol="1" spcCol="1270" anchor="ctr" anchorCtr="0">
            <a:noAutofit/>
          </a:bodyPr>
          <a:lstStyle/>
          <a:p>
            <a:pPr algn="ctr" defTabSz="366713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pt-BR" sz="825" dirty="0"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latin typeface="Calibri" panose="020F0502020204030204"/>
              </a:rPr>
              <a:t>INFRAESTRUTURA</a:t>
            </a:r>
          </a:p>
        </p:txBody>
      </p:sp>
      <p:sp>
        <p:nvSpPr>
          <p:cNvPr id="26" name="Forma Livre: Forma 25">
            <a:extLst>
              <a:ext uri="{FF2B5EF4-FFF2-40B4-BE49-F238E27FC236}">
                <a16:creationId xmlns:a16="http://schemas.microsoft.com/office/drawing/2014/main" id="{F72EC818-52E5-489B-B1A7-5F719222E706}"/>
              </a:ext>
            </a:extLst>
          </p:cNvPr>
          <p:cNvSpPr/>
          <p:nvPr/>
        </p:nvSpPr>
        <p:spPr>
          <a:xfrm>
            <a:off x="6003324" y="4260979"/>
            <a:ext cx="1743472" cy="154913"/>
          </a:xfrm>
          <a:custGeom>
            <a:avLst/>
            <a:gdLst>
              <a:gd name="connsiteX0" fmla="*/ 0 w 1461461"/>
              <a:gd name="connsiteY0" fmla="*/ 0 h 187843"/>
              <a:gd name="connsiteX1" fmla="*/ 1461461 w 1461461"/>
              <a:gd name="connsiteY1" fmla="*/ 0 h 187843"/>
              <a:gd name="connsiteX2" fmla="*/ 1461461 w 1461461"/>
              <a:gd name="connsiteY2" fmla="*/ 187843 h 187843"/>
              <a:gd name="connsiteX3" fmla="*/ 0 w 1461461"/>
              <a:gd name="connsiteY3" fmla="*/ 187843 h 187843"/>
              <a:gd name="connsiteX4" fmla="*/ 0 w 1461461"/>
              <a:gd name="connsiteY4" fmla="*/ 0 h 1878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61461" h="187843">
                <a:moveTo>
                  <a:pt x="0" y="0"/>
                </a:moveTo>
                <a:lnTo>
                  <a:pt x="1461461" y="0"/>
                </a:lnTo>
                <a:lnTo>
                  <a:pt x="1461461" y="187843"/>
                </a:lnTo>
                <a:lnTo>
                  <a:pt x="0" y="187843"/>
                </a:lnTo>
                <a:lnTo>
                  <a:pt x="0" y="0"/>
                </a:lnTo>
                <a:close/>
              </a:path>
            </a:pathLst>
          </a:custGeom>
        </p:spPr>
        <p:style>
          <a:lnRef idx="2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58674" tIns="10478" rIns="58674" bIns="10478" numCol="1" spcCol="1270" anchor="ctr" anchorCtr="0">
            <a:noAutofit/>
          </a:bodyPr>
          <a:lstStyle/>
          <a:p>
            <a:pPr algn="ctr" defTabSz="366713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pt-BR" sz="825" dirty="0"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latin typeface="Calibri" panose="020F0502020204030204"/>
              </a:rPr>
              <a:t>DEVOPS</a:t>
            </a:r>
          </a:p>
        </p:txBody>
      </p:sp>
      <p:sp>
        <p:nvSpPr>
          <p:cNvPr id="27" name="Forma Livre: Forma 26">
            <a:extLst>
              <a:ext uri="{FF2B5EF4-FFF2-40B4-BE49-F238E27FC236}">
                <a16:creationId xmlns:a16="http://schemas.microsoft.com/office/drawing/2014/main" id="{6D0F7C77-FF47-45F2-B8FB-877A50CE005B}"/>
              </a:ext>
            </a:extLst>
          </p:cNvPr>
          <p:cNvSpPr/>
          <p:nvPr/>
        </p:nvSpPr>
        <p:spPr>
          <a:xfrm>
            <a:off x="6014209" y="3765587"/>
            <a:ext cx="1730770" cy="144865"/>
          </a:xfrm>
          <a:custGeom>
            <a:avLst/>
            <a:gdLst>
              <a:gd name="connsiteX0" fmla="*/ 0 w 1461461"/>
              <a:gd name="connsiteY0" fmla="*/ 0 h 187843"/>
              <a:gd name="connsiteX1" fmla="*/ 1461461 w 1461461"/>
              <a:gd name="connsiteY1" fmla="*/ 0 h 187843"/>
              <a:gd name="connsiteX2" fmla="*/ 1461461 w 1461461"/>
              <a:gd name="connsiteY2" fmla="*/ 187843 h 187843"/>
              <a:gd name="connsiteX3" fmla="*/ 0 w 1461461"/>
              <a:gd name="connsiteY3" fmla="*/ 187843 h 187843"/>
              <a:gd name="connsiteX4" fmla="*/ 0 w 1461461"/>
              <a:gd name="connsiteY4" fmla="*/ 0 h 1878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61461" h="187843">
                <a:moveTo>
                  <a:pt x="0" y="0"/>
                </a:moveTo>
                <a:lnTo>
                  <a:pt x="1461461" y="0"/>
                </a:lnTo>
                <a:lnTo>
                  <a:pt x="1461461" y="187843"/>
                </a:lnTo>
                <a:lnTo>
                  <a:pt x="0" y="187843"/>
                </a:lnTo>
                <a:lnTo>
                  <a:pt x="0" y="0"/>
                </a:lnTo>
                <a:close/>
              </a:path>
            </a:pathLst>
          </a:custGeom>
        </p:spPr>
        <p:style>
          <a:lnRef idx="2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58674" tIns="10478" rIns="58674" bIns="10478" numCol="1" spcCol="1270" anchor="ctr" anchorCtr="0">
            <a:noAutofit/>
          </a:bodyPr>
          <a:lstStyle/>
          <a:p>
            <a:pPr algn="ctr" defTabSz="366713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pt-BR" sz="825" dirty="0"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latin typeface="Calibri" panose="020F0502020204030204"/>
              </a:rPr>
              <a:t>MESAS ÁGEIS</a:t>
            </a:r>
          </a:p>
        </p:txBody>
      </p:sp>
      <p:sp>
        <p:nvSpPr>
          <p:cNvPr id="36" name="Forma Livre: Forma 35">
            <a:extLst>
              <a:ext uri="{FF2B5EF4-FFF2-40B4-BE49-F238E27FC236}">
                <a16:creationId xmlns:a16="http://schemas.microsoft.com/office/drawing/2014/main" id="{B3DA119E-6CC3-4E41-9833-B44756FCE6BF}"/>
              </a:ext>
            </a:extLst>
          </p:cNvPr>
          <p:cNvSpPr/>
          <p:nvPr/>
        </p:nvSpPr>
        <p:spPr>
          <a:xfrm>
            <a:off x="2206936" y="2670737"/>
            <a:ext cx="3104902" cy="471180"/>
          </a:xfrm>
          <a:custGeom>
            <a:avLst/>
            <a:gdLst>
              <a:gd name="connsiteX0" fmla="*/ 0 w 6563755"/>
              <a:gd name="connsiteY0" fmla="*/ 220028 h 628238"/>
              <a:gd name="connsiteX1" fmla="*/ 3203348 w 6563755"/>
              <a:gd name="connsiteY1" fmla="*/ 220028 h 628238"/>
              <a:gd name="connsiteX2" fmla="*/ 3203348 w 6563755"/>
              <a:gd name="connsiteY2" fmla="*/ 157060 h 628238"/>
              <a:gd name="connsiteX3" fmla="*/ 3124818 w 6563755"/>
              <a:gd name="connsiteY3" fmla="*/ 157060 h 628238"/>
              <a:gd name="connsiteX4" fmla="*/ 3281878 w 6563755"/>
              <a:gd name="connsiteY4" fmla="*/ 0 h 628238"/>
              <a:gd name="connsiteX5" fmla="*/ 3438937 w 6563755"/>
              <a:gd name="connsiteY5" fmla="*/ 157060 h 628238"/>
              <a:gd name="connsiteX6" fmla="*/ 3360407 w 6563755"/>
              <a:gd name="connsiteY6" fmla="*/ 157060 h 628238"/>
              <a:gd name="connsiteX7" fmla="*/ 3360407 w 6563755"/>
              <a:gd name="connsiteY7" fmla="*/ 220028 h 628238"/>
              <a:gd name="connsiteX8" fmla="*/ 6563755 w 6563755"/>
              <a:gd name="connsiteY8" fmla="*/ 220028 h 628238"/>
              <a:gd name="connsiteX9" fmla="*/ 6563755 w 6563755"/>
              <a:gd name="connsiteY9" fmla="*/ 628238 h 628238"/>
              <a:gd name="connsiteX10" fmla="*/ 0 w 6563755"/>
              <a:gd name="connsiteY10" fmla="*/ 628238 h 628238"/>
              <a:gd name="connsiteX11" fmla="*/ 0 w 6563755"/>
              <a:gd name="connsiteY11" fmla="*/ 220028 h 6282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563755" h="628238">
                <a:moveTo>
                  <a:pt x="6563755" y="408210"/>
                </a:moveTo>
                <a:lnTo>
                  <a:pt x="3360407" y="408210"/>
                </a:lnTo>
                <a:lnTo>
                  <a:pt x="3360407" y="471178"/>
                </a:lnTo>
                <a:lnTo>
                  <a:pt x="3438937" y="471178"/>
                </a:lnTo>
                <a:lnTo>
                  <a:pt x="3281877" y="628237"/>
                </a:lnTo>
                <a:lnTo>
                  <a:pt x="3124818" y="471178"/>
                </a:lnTo>
                <a:lnTo>
                  <a:pt x="3203348" y="471178"/>
                </a:lnTo>
                <a:lnTo>
                  <a:pt x="3203348" y="408210"/>
                </a:lnTo>
                <a:lnTo>
                  <a:pt x="0" y="408210"/>
                </a:lnTo>
                <a:lnTo>
                  <a:pt x="0" y="1"/>
                </a:lnTo>
                <a:lnTo>
                  <a:pt x="6563755" y="1"/>
                </a:lnTo>
                <a:lnTo>
                  <a:pt x="6563755" y="408210"/>
                </a:ln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58673" tIns="58675" rIns="58674" bIns="223696" numCol="1" spcCol="1270" anchor="ctr" anchorCtr="0">
            <a:noAutofit/>
          </a:bodyPr>
          <a:lstStyle/>
          <a:p>
            <a:pPr algn="ctr" defTabSz="366713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pt-BR" sz="825" dirty="0">
                <a:solidFill>
                  <a:prstClr val="white"/>
                </a:solidFill>
                <a:latin typeface="Calibri" panose="020F0502020204030204"/>
              </a:rPr>
              <a:t>REFINAMENTO E ESTRATÉGIA DE ENTREGA</a:t>
            </a:r>
          </a:p>
        </p:txBody>
      </p:sp>
      <p:sp>
        <p:nvSpPr>
          <p:cNvPr id="30" name="Forma Livre: Forma 29">
            <a:extLst>
              <a:ext uri="{FF2B5EF4-FFF2-40B4-BE49-F238E27FC236}">
                <a16:creationId xmlns:a16="http://schemas.microsoft.com/office/drawing/2014/main" id="{EADE301E-6ED8-446C-A0AD-BAB26569F1CE}"/>
              </a:ext>
            </a:extLst>
          </p:cNvPr>
          <p:cNvSpPr/>
          <p:nvPr/>
        </p:nvSpPr>
        <p:spPr>
          <a:xfrm>
            <a:off x="3847046" y="1508532"/>
            <a:ext cx="1411797" cy="108013"/>
          </a:xfrm>
          <a:custGeom>
            <a:avLst/>
            <a:gdLst>
              <a:gd name="connsiteX0" fmla="*/ 0 w 2176495"/>
              <a:gd name="connsiteY0" fmla="*/ 0 h 243335"/>
              <a:gd name="connsiteX1" fmla="*/ 2176495 w 2176495"/>
              <a:gd name="connsiteY1" fmla="*/ 0 h 243335"/>
              <a:gd name="connsiteX2" fmla="*/ 2176495 w 2176495"/>
              <a:gd name="connsiteY2" fmla="*/ 243335 h 243335"/>
              <a:gd name="connsiteX3" fmla="*/ 0 w 2176495"/>
              <a:gd name="connsiteY3" fmla="*/ 243335 h 243335"/>
              <a:gd name="connsiteX4" fmla="*/ 0 w 2176495"/>
              <a:gd name="connsiteY4" fmla="*/ 0 h 243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76495" h="243335">
                <a:moveTo>
                  <a:pt x="0" y="0"/>
                </a:moveTo>
                <a:lnTo>
                  <a:pt x="2176495" y="0"/>
                </a:lnTo>
                <a:lnTo>
                  <a:pt x="2176495" y="243335"/>
                </a:lnTo>
                <a:lnTo>
                  <a:pt x="0" y="243335"/>
                </a:lnTo>
                <a:lnTo>
                  <a:pt x="0" y="0"/>
                </a:lnTo>
                <a:close/>
              </a:path>
            </a:pathLst>
          </a:custGeom>
        </p:spPr>
        <p:style>
          <a:lnRef idx="2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58674" tIns="10478" rIns="58674" bIns="10478" numCol="1" spcCol="1270" anchor="ctr" anchorCtr="0">
            <a:noAutofit/>
          </a:bodyPr>
          <a:lstStyle/>
          <a:p>
            <a:pPr algn="ctr" defTabSz="366713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pt-BR" sz="825" dirty="0"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latin typeface="Calibri" panose="020F0502020204030204"/>
              </a:rPr>
              <a:t>DONOS DE OPORTUNIDADES</a:t>
            </a:r>
          </a:p>
        </p:txBody>
      </p:sp>
      <p:sp>
        <p:nvSpPr>
          <p:cNvPr id="31" name="Forma Livre: Forma 30">
            <a:extLst>
              <a:ext uri="{FF2B5EF4-FFF2-40B4-BE49-F238E27FC236}">
                <a16:creationId xmlns:a16="http://schemas.microsoft.com/office/drawing/2014/main" id="{BDED0E68-A75A-4302-AEC9-2300B91B5DEF}"/>
              </a:ext>
            </a:extLst>
          </p:cNvPr>
          <p:cNvSpPr/>
          <p:nvPr/>
        </p:nvSpPr>
        <p:spPr>
          <a:xfrm>
            <a:off x="3854990" y="1508532"/>
            <a:ext cx="1411797" cy="108013"/>
          </a:xfrm>
          <a:custGeom>
            <a:avLst/>
            <a:gdLst>
              <a:gd name="connsiteX0" fmla="*/ 0 w 2176495"/>
              <a:gd name="connsiteY0" fmla="*/ 0 h 243335"/>
              <a:gd name="connsiteX1" fmla="*/ 2176495 w 2176495"/>
              <a:gd name="connsiteY1" fmla="*/ 0 h 243335"/>
              <a:gd name="connsiteX2" fmla="*/ 2176495 w 2176495"/>
              <a:gd name="connsiteY2" fmla="*/ 243335 h 243335"/>
              <a:gd name="connsiteX3" fmla="*/ 0 w 2176495"/>
              <a:gd name="connsiteY3" fmla="*/ 243335 h 243335"/>
              <a:gd name="connsiteX4" fmla="*/ 0 w 2176495"/>
              <a:gd name="connsiteY4" fmla="*/ 0 h 243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76495" h="243335">
                <a:moveTo>
                  <a:pt x="0" y="0"/>
                </a:moveTo>
                <a:lnTo>
                  <a:pt x="2176495" y="0"/>
                </a:lnTo>
                <a:lnTo>
                  <a:pt x="2176495" y="243335"/>
                </a:lnTo>
                <a:lnTo>
                  <a:pt x="0" y="243335"/>
                </a:lnTo>
                <a:lnTo>
                  <a:pt x="0" y="0"/>
                </a:lnTo>
                <a:close/>
              </a:path>
            </a:pathLst>
          </a:custGeom>
        </p:spPr>
        <p:style>
          <a:lnRef idx="2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58674" tIns="10478" rIns="58674" bIns="10478" numCol="1" spcCol="1270" anchor="ctr" anchorCtr="0">
            <a:noAutofit/>
          </a:bodyPr>
          <a:lstStyle/>
          <a:p>
            <a:pPr algn="ctr" defTabSz="366713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pt-BR" sz="825" dirty="0"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latin typeface="Calibri" panose="020F0502020204030204"/>
              </a:rPr>
              <a:t>DONOS DE OPORTUNIDADES</a:t>
            </a:r>
          </a:p>
        </p:txBody>
      </p:sp>
      <p:sp>
        <p:nvSpPr>
          <p:cNvPr id="32" name="Forma Livre: Forma 31">
            <a:extLst>
              <a:ext uri="{FF2B5EF4-FFF2-40B4-BE49-F238E27FC236}">
                <a16:creationId xmlns:a16="http://schemas.microsoft.com/office/drawing/2014/main" id="{5AEF58FC-5B5C-48FF-B9D1-BA65393B021C}"/>
              </a:ext>
            </a:extLst>
          </p:cNvPr>
          <p:cNvSpPr/>
          <p:nvPr/>
        </p:nvSpPr>
        <p:spPr>
          <a:xfrm>
            <a:off x="2293143" y="1508532"/>
            <a:ext cx="1361308" cy="108013"/>
          </a:xfrm>
          <a:custGeom>
            <a:avLst/>
            <a:gdLst>
              <a:gd name="connsiteX0" fmla="*/ 0 w 2176495"/>
              <a:gd name="connsiteY0" fmla="*/ 0 h 243335"/>
              <a:gd name="connsiteX1" fmla="*/ 2176495 w 2176495"/>
              <a:gd name="connsiteY1" fmla="*/ 0 h 243335"/>
              <a:gd name="connsiteX2" fmla="*/ 2176495 w 2176495"/>
              <a:gd name="connsiteY2" fmla="*/ 243335 h 243335"/>
              <a:gd name="connsiteX3" fmla="*/ 0 w 2176495"/>
              <a:gd name="connsiteY3" fmla="*/ 243335 h 243335"/>
              <a:gd name="connsiteX4" fmla="*/ 0 w 2176495"/>
              <a:gd name="connsiteY4" fmla="*/ 0 h 243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76495" h="243335">
                <a:moveTo>
                  <a:pt x="0" y="0"/>
                </a:moveTo>
                <a:lnTo>
                  <a:pt x="2176495" y="0"/>
                </a:lnTo>
                <a:lnTo>
                  <a:pt x="2176495" y="243335"/>
                </a:lnTo>
                <a:lnTo>
                  <a:pt x="0" y="243335"/>
                </a:lnTo>
                <a:lnTo>
                  <a:pt x="0" y="0"/>
                </a:lnTo>
                <a:close/>
              </a:path>
            </a:pathLst>
          </a:custGeom>
        </p:spPr>
        <p:style>
          <a:lnRef idx="2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58674" tIns="10478" rIns="58674" bIns="10478" numCol="1" spcCol="1270" anchor="ctr" anchorCtr="0">
            <a:noAutofit/>
          </a:bodyPr>
          <a:lstStyle/>
          <a:p>
            <a:pPr algn="ctr" defTabSz="366713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pt-BR" sz="825" dirty="0"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latin typeface="Calibri" panose="020F0502020204030204"/>
              </a:rPr>
              <a:t>PRODUCT LEADERS</a:t>
            </a:r>
          </a:p>
        </p:txBody>
      </p:sp>
      <p:sp>
        <p:nvSpPr>
          <p:cNvPr id="4" name="Seta: para a Direita 3">
            <a:extLst>
              <a:ext uri="{FF2B5EF4-FFF2-40B4-BE49-F238E27FC236}">
                <a16:creationId xmlns:a16="http://schemas.microsoft.com/office/drawing/2014/main" id="{3C0E1CA2-18F1-4969-9A6C-222F215F233A}"/>
              </a:ext>
            </a:extLst>
          </p:cNvPr>
          <p:cNvSpPr/>
          <p:nvPr/>
        </p:nvSpPr>
        <p:spPr>
          <a:xfrm rot="2055803">
            <a:off x="1765727" y="1656218"/>
            <a:ext cx="397200" cy="208964"/>
          </a:xfrm>
          <a:prstGeom prst="right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5" name="Retângulo: Cantos Arredondados 4">
            <a:extLst>
              <a:ext uri="{FF2B5EF4-FFF2-40B4-BE49-F238E27FC236}">
                <a16:creationId xmlns:a16="http://schemas.microsoft.com/office/drawing/2014/main" id="{72062104-1BA1-4FC3-BD11-657F73558994}"/>
              </a:ext>
            </a:extLst>
          </p:cNvPr>
          <p:cNvSpPr/>
          <p:nvPr/>
        </p:nvSpPr>
        <p:spPr>
          <a:xfrm>
            <a:off x="778669" y="1078707"/>
            <a:ext cx="1042988" cy="640619"/>
          </a:xfrm>
          <a:prstGeom prst="roundRect">
            <a:avLst/>
          </a:prstGeom>
          <a:ln w="19050">
            <a:solidFill>
              <a:schemeClr val="accent2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t-BR" dirty="0">
                <a:solidFill>
                  <a:srgbClr val="FF461E"/>
                </a:solidFill>
                <a:latin typeface="Calibri" panose="020F0502020204030204"/>
              </a:rPr>
              <a:t>FOCO: EQUIPE DEDICADA</a:t>
            </a:r>
          </a:p>
        </p:txBody>
      </p:sp>
      <p:sp>
        <p:nvSpPr>
          <p:cNvPr id="33" name="Seta: para a Direita 32">
            <a:extLst>
              <a:ext uri="{FF2B5EF4-FFF2-40B4-BE49-F238E27FC236}">
                <a16:creationId xmlns:a16="http://schemas.microsoft.com/office/drawing/2014/main" id="{2DE7FB6F-B81C-4C21-8C3C-FD69BB057C58}"/>
              </a:ext>
            </a:extLst>
          </p:cNvPr>
          <p:cNvSpPr/>
          <p:nvPr/>
        </p:nvSpPr>
        <p:spPr>
          <a:xfrm rot="12815457">
            <a:off x="7824399" y="1439970"/>
            <a:ext cx="397200" cy="208964"/>
          </a:xfrm>
          <a:prstGeom prst="right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34" name="Retângulo: Cantos Arredondados 33">
            <a:extLst>
              <a:ext uri="{FF2B5EF4-FFF2-40B4-BE49-F238E27FC236}">
                <a16:creationId xmlns:a16="http://schemas.microsoft.com/office/drawing/2014/main" id="{DF49DDB9-1057-4E06-95AF-6724FBF71A9A}"/>
              </a:ext>
            </a:extLst>
          </p:cNvPr>
          <p:cNvSpPr/>
          <p:nvPr/>
        </p:nvSpPr>
        <p:spPr>
          <a:xfrm>
            <a:off x="7877980" y="1624377"/>
            <a:ext cx="1042988" cy="640619"/>
          </a:xfrm>
          <a:prstGeom prst="roundRect">
            <a:avLst/>
          </a:prstGeom>
          <a:ln w="19050">
            <a:solidFill>
              <a:schemeClr val="accent2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t-BR" dirty="0">
                <a:solidFill>
                  <a:srgbClr val="FF461E"/>
                </a:solidFill>
                <a:latin typeface="Calibri" panose="020F0502020204030204"/>
              </a:rPr>
              <a:t>DEMANDAS FURA-FILA</a:t>
            </a:r>
          </a:p>
        </p:txBody>
      </p:sp>
      <p:sp>
        <p:nvSpPr>
          <p:cNvPr id="35" name="Seta: para a Direita 34">
            <a:extLst>
              <a:ext uri="{FF2B5EF4-FFF2-40B4-BE49-F238E27FC236}">
                <a16:creationId xmlns:a16="http://schemas.microsoft.com/office/drawing/2014/main" id="{BF45D5E5-A69F-4825-AABB-3D628EB649EC}"/>
              </a:ext>
            </a:extLst>
          </p:cNvPr>
          <p:cNvSpPr/>
          <p:nvPr/>
        </p:nvSpPr>
        <p:spPr>
          <a:xfrm rot="7987643">
            <a:off x="7738169" y="3517165"/>
            <a:ext cx="397200" cy="208964"/>
          </a:xfrm>
          <a:prstGeom prst="right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37" name="Retângulo: Cantos Arredondados 36">
            <a:extLst>
              <a:ext uri="{FF2B5EF4-FFF2-40B4-BE49-F238E27FC236}">
                <a16:creationId xmlns:a16="http://schemas.microsoft.com/office/drawing/2014/main" id="{757F0203-8C2A-4783-9ECD-2216E6A5B85E}"/>
              </a:ext>
            </a:extLst>
          </p:cNvPr>
          <p:cNvSpPr/>
          <p:nvPr/>
        </p:nvSpPr>
        <p:spPr>
          <a:xfrm>
            <a:off x="6937065" y="2877133"/>
            <a:ext cx="1830671" cy="640619"/>
          </a:xfrm>
          <a:prstGeom prst="roundRect">
            <a:avLst/>
          </a:prstGeom>
          <a:ln w="19050">
            <a:solidFill>
              <a:schemeClr val="accent2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t-BR" dirty="0">
                <a:solidFill>
                  <a:srgbClr val="FF461E"/>
                </a:solidFill>
                <a:latin typeface="Calibri" panose="020F0502020204030204"/>
              </a:rPr>
              <a:t>ORGANIZAÇÃO 100% BASEADA EM PRODUTOS/SERVIÇOS</a:t>
            </a:r>
          </a:p>
        </p:txBody>
      </p:sp>
      <p:sp>
        <p:nvSpPr>
          <p:cNvPr id="38" name="Seta: para a Direita 37">
            <a:extLst>
              <a:ext uri="{FF2B5EF4-FFF2-40B4-BE49-F238E27FC236}">
                <a16:creationId xmlns:a16="http://schemas.microsoft.com/office/drawing/2014/main" id="{B2D93752-1492-4801-9198-97FB5141A4C2}"/>
              </a:ext>
            </a:extLst>
          </p:cNvPr>
          <p:cNvSpPr/>
          <p:nvPr/>
        </p:nvSpPr>
        <p:spPr>
          <a:xfrm rot="10800000">
            <a:off x="5942635" y="4617739"/>
            <a:ext cx="397200" cy="208964"/>
          </a:xfrm>
          <a:prstGeom prst="right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39" name="Retângulo: Cantos Arredondados 38">
            <a:extLst>
              <a:ext uri="{FF2B5EF4-FFF2-40B4-BE49-F238E27FC236}">
                <a16:creationId xmlns:a16="http://schemas.microsoft.com/office/drawing/2014/main" id="{6FC2428F-875C-4CAF-9397-983912DD2D92}"/>
              </a:ext>
            </a:extLst>
          </p:cNvPr>
          <p:cNvSpPr/>
          <p:nvPr/>
        </p:nvSpPr>
        <p:spPr>
          <a:xfrm>
            <a:off x="6339835" y="4452056"/>
            <a:ext cx="2108388" cy="640619"/>
          </a:xfrm>
          <a:prstGeom prst="roundRect">
            <a:avLst/>
          </a:prstGeom>
          <a:ln w="19050">
            <a:solidFill>
              <a:schemeClr val="accent2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t-BR" dirty="0">
                <a:solidFill>
                  <a:srgbClr val="FF461E"/>
                </a:solidFill>
                <a:latin typeface="Calibri" panose="020F0502020204030204"/>
              </a:rPr>
              <a:t>FOCO EM QUALIDADE E MENOS DISPERSÃO PARA TIMES DE PRODUTOS</a:t>
            </a:r>
          </a:p>
        </p:txBody>
      </p:sp>
      <p:sp>
        <p:nvSpPr>
          <p:cNvPr id="40" name="Seta: para a Direita 39">
            <a:extLst>
              <a:ext uri="{FF2B5EF4-FFF2-40B4-BE49-F238E27FC236}">
                <a16:creationId xmlns:a16="http://schemas.microsoft.com/office/drawing/2014/main" id="{65E64C8D-DEF3-45CA-B2E3-4565C22CC027}"/>
              </a:ext>
            </a:extLst>
          </p:cNvPr>
          <p:cNvSpPr/>
          <p:nvPr/>
        </p:nvSpPr>
        <p:spPr>
          <a:xfrm rot="18581976">
            <a:off x="1353146" y="4038052"/>
            <a:ext cx="397200" cy="208964"/>
          </a:xfrm>
          <a:prstGeom prst="right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47" name="Retângulo: Cantos Arredondados 46">
            <a:extLst>
              <a:ext uri="{FF2B5EF4-FFF2-40B4-BE49-F238E27FC236}">
                <a16:creationId xmlns:a16="http://schemas.microsoft.com/office/drawing/2014/main" id="{36CA8A5A-C67C-4626-B2E7-4FA4F93EF097}"/>
              </a:ext>
            </a:extLst>
          </p:cNvPr>
          <p:cNvSpPr/>
          <p:nvPr/>
        </p:nvSpPr>
        <p:spPr>
          <a:xfrm>
            <a:off x="135467" y="4260980"/>
            <a:ext cx="1961261" cy="656766"/>
          </a:xfrm>
          <a:prstGeom prst="roundRect">
            <a:avLst/>
          </a:prstGeom>
          <a:ln w="19050">
            <a:solidFill>
              <a:schemeClr val="accent2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t-BR" dirty="0">
                <a:solidFill>
                  <a:srgbClr val="FF461E"/>
                </a:solidFill>
                <a:latin typeface="Calibri" panose="020F0502020204030204"/>
              </a:rPr>
              <a:t>GOVERNANÇA E AUTONOMIA PARA TIMES DE PRODUTOS</a:t>
            </a:r>
          </a:p>
        </p:txBody>
      </p:sp>
    </p:spTree>
    <p:extLst>
      <p:ext uri="{BB962C8B-B14F-4D97-AF65-F5344CB8AC3E}">
        <p14:creationId xmlns:p14="http://schemas.microsoft.com/office/powerpoint/2010/main" val="356910406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5" grpId="0" animBg="1"/>
      <p:bldP spid="33" grpId="0" animBg="1"/>
      <p:bldP spid="34" grpId="0" animBg="1"/>
      <p:bldP spid="35" grpId="0" animBg="1"/>
      <p:bldP spid="37" grpId="0" animBg="1"/>
      <p:bldP spid="38" grpId="0" animBg="1"/>
      <p:bldP spid="39" grpId="0" animBg="1"/>
      <p:bldP spid="40" grpId="0" animBg="1"/>
      <p:bldP spid="47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>
            <a:extLst>
              <a:ext uri="{FF2B5EF4-FFF2-40B4-BE49-F238E27FC236}">
                <a16:creationId xmlns:a16="http://schemas.microsoft.com/office/drawing/2014/main" id="{9F009F81-810D-494E-9239-8B534B7A6A8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rot="19717688">
            <a:off x="-289016" y="-79169"/>
            <a:ext cx="2330399" cy="1640582"/>
          </a:xfrm>
          <a:prstGeom prst="rect">
            <a:avLst/>
          </a:prstGeom>
        </p:spPr>
      </p:pic>
      <p:cxnSp>
        <p:nvCxnSpPr>
          <p:cNvPr id="197" name="Conector reto 196">
            <a:extLst>
              <a:ext uri="{FF2B5EF4-FFF2-40B4-BE49-F238E27FC236}">
                <a16:creationId xmlns:a16="http://schemas.microsoft.com/office/drawing/2014/main" id="{A3A55172-0277-4E87-BA86-F1388B13EB92}"/>
              </a:ext>
            </a:extLst>
          </p:cNvPr>
          <p:cNvCxnSpPr>
            <a:cxnSpLocks/>
          </p:cNvCxnSpPr>
          <p:nvPr/>
        </p:nvCxnSpPr>
        <p:spPr>
          <a:xfrm>
            <a:off x="3619968" y="4150086"/>
            <a:ext cx="0" cy="274474"/>
          </a:xfrm>
          <a:prstGeom prst="line">
            <a:avLst/>
          </a:prstGeom>
          <a:noFill/>
          <a:ln w="25400" cap="flat">
            <a:solidFill>
              <a:srgbClr val="000000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199" name="Conector reto 198">
            <a:extLst>
              <a:ext uri="{FF2B5EF4-FFF2-40B4-BE49-F238E27FC236}">
                <a16:creationId xmlns:a16="http://schemas.microsoft.com/office/drawing/2014/main" id="{3A953B60-0F3E-4B48-AF82-A25B8B65BC67}"/>
              </a:ext>
            </a:extLst>
          </p:cNvPr>
          <p:cNvCxnSpPr>
            <a:cxnSpLocks/>
            <a:stCxn id="198" idx="4"/>
          </p:cNvCxnSpPr>
          <p:nvPr/>
        </p:nvCxnSpPr>
        <p:spPr>
          <a:xfrm>
            <a:off x="5144278" y="4234518"/>
            <a:ext cx="0" cy="274474"/>
          </a:xfrm>
          <a:prstGeom prst="line">
            <a:avLst/>
          </a:prstGeom>
          <a:noFill/>
          <a:ln w="25400" cap="flat">
            <a:solidFill>
              <a:srgbClr val="000000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41" name="CaixaDeTexto 40">
            <a:extLst>
              <a:ext uri="{FF2B5EF4-FFF2-40B4-BE49-F238E27FC236}">
                <a16:creationId xmlns:a16="http://schemas.microsoft.com/office/drawing/2014/main" id="{BE979849-FA25-498E-8A8F-F1C2600FD4D5}"/>
              </a:ext>
            </a:extLst>
          </p:cNvPr>
          <p:cNvSpPr txBox="1"/>
          <p:nvPr/>
        </p:nvSpPr>
        <p:spPr>
          <a:xfrm>
            <a:off x="3985180" y="243809"/>
            <a:ext cx="4773575" cy="49229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6789" tIns="26789" rIns="26789" bIns="26789" numCol="1" spcCol="38100" rtlCol="0" anchor="ctr">
            <a:spAutoFit/>
          </a:bodyPr>
          <a:lstStyle/>
          <a:p>
            <a:pPr algn="just" defTabSz="241093"/>
            <a:r>
              <a:rPr lang="pt-BR" altLang="pt-BR" sz="949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Garantir as recomendações para que um novo produto ou oportunidade seja implementado da forma mais eficiente e aderente à estratégia de produtos da companhia. Garantindo sua escalabilidade e comercialização de forma mais simples e segura.</a:t>
            </a:r>
            <a:endParaRPr lang="pt-BR" sz="949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  <a:sym typeface="Helvetica Neue"/>
            </a:endParaRPr>
          </a:p>
        </p:txBody>
      </p:sp>
      <p:sp>
        <p:nvSpPr>
          <p:cNvPr id="64" name="CaixaDeTexto 63">
            <a:extLst>
              <a:ext uri="{FF2B5EF4-FFF2-40B4-BE49-F238E27FC236}">
                <a16:creationId xmlns:a16="http://schemas.microsoft.com/office/drawing/2014/main" id="{8C21AC71-95DD-490B-9AEB-85D5A13E0C99}"/>
              </a:ext>
            </a:extLst>
          </p:cNvPr>
          <p:cNvSpPr txBox="1"/>
          <p:nvPr/>
        </p:nvSpPr>
        <p:spPr>
          <a:xfrm>
            <a:off x="3985179" y="971033"/>
            <a:ext cx="4091480" cy="93049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6789" tIns="26789" rIns="26789" bIns="26789" numCol="1" spcCol="38100" rtlCol="0" anchor="ctr">
            <a:spAutoFit/>
          </a:bodyPr>
          <a:lstStyle/>
          <a:p>
            <a:pPr algn="just" defTabSz="241093"/>
            <a:r>
              <a:rPr lang="pt-BR" sz="949" dirty="0">
                <a:solidFill>
                  <a:prstClr val="black"/>
                </a:solidFill>
                <a:latin typeface="Calibri" panose="020F0502020204030204"/>
              </a:rPr>
              <a:t>Um papel</a:t>
            </a:r>
          </a:p>
          <a:p>
            <a:pPr algn="just" defTabSz="241093"/>
            <a:r>
              <a:rPr lang="pt-BR" sz="949" dirty="0">
                <a:solidFill>
                  <a:prstClr val="black"/>
                </a:solidFill>
                <a:latin typeface="Calibri" panose="020F0502020204030204"/>
              </a:rPr>
              <a:t>Generalista</a:t>
            </a:r>
          </a:p>
          <a:p>
            <a:pPr algn="just" defTabSz="241093"/>
            <a:r>
              <a:rPr lang="pt-BR" sz="949" dirty="0">
                <a:solidFill>
                  <a:prstClr val="black"/>
                </a:solidFill>
                <a:latin typeface="Calibri" panose="020F0502020204030204"/>
              </a:rPr>
              <a:t>Parte da arquitetura corporativa</a:t>
            </a:r>
          </a:p>
          <a:p>
            <a:pPr algn="just" defTabSz="241093"/>
            <a:r>
              <a:rPr lang="pt-BR" sz="949" dirty="0">
                <a:solidFill>
                  <a:prstClr val="black"/>
                </a:solidFill>
                <a:latin typeface="Calibri" panose="020F0502020204030204"/>
              </a:rPr>
              <a:t>Mentor</a:t>
            </a:r>
          </a:p>
          <a:p>
            <a:pPr algn="just" defTabSz="241093"/>
            <a:r>
              <a:rPr lang="pt-BR" sz="949" dirty="0">
                <a:solidFill>
                  <a:prstClr val="black"/>
                </a:solidFill>
                <a:latin typeface="Calibri" panose="020F0502020204030204"/>
              </a:rPr>
              <a:t>Arquiteto</a:t>
            </a:r>
          </a:p>
          <a:p>
            <a:pPr algn="just" defTabSz="241093"/>
            <a:r>
              <a:rPr lang="pt-BR" sz="949" dirty="0">
                <a:solidFill>
                  <a:prstClr val="black"/>
                </a:solidFill>
                <a:latin typeface="Calibri" panose="020F0502020204030204"/>
              </a:rPr>
              <a:t>Referência</a:t>
            </a:r>
            <a:endParaRPr lang="pt-BR" sz="949" dirty="0">
              <a:solidFill>
                <a:srgbClr val="000000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42" name="Retângulo 41">
            <a:extLst>
              <a:ext uri="{FF2B5EF4-FFF2-40B4-BE49-F238E27FC236}">
                <a16:creationId xmlns:a16="http://schemas.microsoft.com/office/drawing/2014/main" id="{E800C93C-9769-4212-A5F4-02CB71FC3F2B}"/>
              </a:ext>
            </a:extLst>
          </p:cNvPr>
          <p:cNvSpPr/>
          <p:nvPr/>
        </p:nvSpPr>
        <p:spPr>
          <a:xfrm>
            <a:off x="3985180" y="2155402"/>
            <a:ext cx="4773575" cy="96872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defTabSz="241093"/>
            <a:r>
              <a:rPr lang="pt-BR" sz="949" dirty="0">
                <a:solidFill>
                  <a:prstClr val="black"/>
                </a:solidFill>
                <a:latin typeface="Calibri" panose="020F0502020204030204"/>
              </a:rPr>
              <a:t>Desenho da solução </a:t>
            </a:r>
          </a:p>
          <a:p>
            <a:pPr algn="just" defTabSz="241093"/>
            <a:r>
              <a:rPr lang="pt-BR" sz="949" dirty="0">
                <a:solidFill>
                  <a:prstClr val="black"/>
                </a:solidFill>
                <a:latin typeface="Calibri" panose="020F0502020204030204"/>
              </a:rPr>
              <a:t>Participa e apoia na pesquisa e avaliação de tendências de negócios e processos</a:t>
            </a:r>
          </a:p>
          <a:p>
            <a:pPr algn="just" defTabSz="241093"/>
            <a:r>
              <a:rPr lang="pt-BR" sz="949" dirty="0">
                <a:solidFill>
                  <a:prstClr val="black"/>
                </a:solidFill>
                <a:latin typeface="Calibri" panose="020F0502020204030204"/>
              </a:rPr>
              <a:t>Busca a sinergia das soluções de negócio</a:t>
            </a:r>
          </a:p>
          <a:p>
            <a:pPr algn="just" defTabSz="241093"/>
            <a:r>
              <a:rPr lang="pt-BR" sz="949" dirty="0">
                <a:solidFill>
                  <a:prstClr val="black"/>
                </a:solidFill>
                <a:latin typeface="Calibri" panose="020F0502020204030204"/>
              </a:rPr>
              <a:t>Garantir a aderência as diretrizes estratégicas da Companhia</a:t>
            </a:r>
          </a:p>
          <a:p>
            <a:pPr algn="just" defTabSz="241093"/>
            <a:r>
              <a:rPr lang="pt-BR" sz="949" dirty="0">
                <a:solidFill>
                  <a:prstClr val="black"/>
                </a:solidFill>
                <a:latin typeface="Calibri" panose="020F0502020204030204"/>
              </a:rPr>
              <a:t>Mantem a visão de negócio atualizada e disponível (desenho)</a:t>
            </a:r>
          </a:p>
          <a:p>
            <a:pPr algn="just" defTabSz="241093"/>
            <a:r>
              <a:rPr lang="pt-BR" sz="949" dirty="0">
                <a:solidFill>
                  <a:prstClr val="black"/>
                </a:solidFill>
                <a:latin typeface="Calibri" panose="020F0502020204030204"/>
              </a:rPr>
              <a:t>Articula entre área de negócio e tecnologia</a:t>
            </a:r>
          </a:p>
        </p:txBody>
      </p:sp>
      <p:sp>
        <p:nvSpPr>
          <p:cNvPr id="69" name="EA (Enterprise Architect) -…">
            <a:extLst>
              <a:ext uri="{FF2B5EF4-FFF2-40B4-BE49-F238E27FC236}">
                <a16:creationId xmlns:a16="http://schemas.microsoft.com/office/drawing/2014/main" id="{8830CE05-E15A-464D-B820-3BC33E5328D6}"/>
              </a:ext>
            </a:extLst>
          </p:cNvPr>
          <p:cNvSpPr txBox="1"/>
          <p:nvPr/>
        </p:nvSpPr>
        <p:spPr>
          <a:xfrm>
            <a:off x="1660885" y="2086369"/>
            <a:ext cx="3452411" cy="28140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26789" tIns="26789" rIns="26789" bIns="26789" numCol="1" anchor="ctr">
            <a:spAutoFit/>
          </a:bodyPr>
          <a:lstStyle/>
          <a:p>
            <a:pPr>
              <a:defRPr sz="2000"/>
            </a:pPr>
            <a:r>
              <a:rPr lang="pt-BR" sz="1477" dirty="0">
                <a:solidFill>
                  <a:srgbClr val="FF0000"/>
                </a:solidFill>
              </a:rPr>
              <a:t>AN (A</a:t>
            </a:r>
            <a:r>
              <a:rPr sz="1477" dirty="0" err="1">
                <a:solidFill>
                  <a:srgbClr val="FF0000"/>
                </a:solidFill>
              </a:rPr>
              <a:t>rquiteto</a:t>
            </a:r>
            <a:r>
              <a:rPr sz="1477" dirty="0">
                <a:solidFill>
                  <a:srgbClr val="FF0000"/>
                </a:solidFill>
              </a:rPr>
              <a:t> de </a:t>
            </a:r>
            <a:r>
              <a:rPr sz="1477" dirty="0" err="1">
                <a:solidFill>
                  <a:srgbClr val="FF0000"/>
                </a:solidFill>
              </a:rPr>
              <a:t>Negócio</a:t>
            </a:r>
            <a:r>
              <a:rPr lang="pt-BR" sz="1477" dirty="0">
                <a:solidFill>
                  <a:srgbClr val="FF0000"/>
                </a:solidFill>
              </a:rPr>
              <a:t>)</a:t>
            </a:r>
            <a:endParaRPr sz="1477" dirty="0">
              <a:solidFill>
                <a:srgbClr val="FF0000"/>
              </a:solidFill>
            </a:endParaRPr>
          </a:p>
        </p:txBody>
      </p:sp>
      <p:sp>
        <p:nvSpPr>
          <p:cNvPr id="70" name="escalabilidade e comercialização">
            <a:extLst>
              <a:ext uri="{FF2B5EF4-FFF2-40B4-BE49-F238E27FC236}">
                <a16:creationId xmlns:a16="http://schemas.microsoft.com/office/drawing/2014/main" id="{10C73A2A-CA63-4BB1-8DDD-FA33255D777A}"/>
              </a:ext>
            </a:extLst>
          </p:cNvPr>
          <p:cNvSpPr txBox="1"/>
          <p:nvPr/>
        </p:nvSpPr>
        <p:spPr>
          <a:xfrm>
            <a:off x="1444414" y="2383680"/>
            <a:ext cx="2308559" cy="28140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26789" tIns="26789" rIns="26789" bIns="26789" numCol="1" anchor="ctr">
            <a:spAutoFit/>
          </a:bodyPr>
          <a:lstStyle>
            <a:lvl1pPr>
              <a:defRPr sz="1800" b="0"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r>
              <a:rPr sz="1477" b="1" dirty="0"/>
              <a:t> </a:t>
            </a:r>
            <a:r>
              <a:rPr lang="pt-BR" sz="1477" b="1" dirty="0"/>
              <a:t>Aderência e escalabilidade</a:t>
            </a:r>
            <a:endParaRPr sz="1477" b="1" dirty="0"/>
          </a:p>
        </p:txBody>
      </p:sp>
      <p:pic>
        <p:nvPicPr>
          <p:cNvPr id="71" name="Imagem" descr="Imagem">
            <a:extLst>
              <a:ext uri="{FF2B5EF4-FFF2-40B4-BE49-F238E27FC236}">
                <a16:creationId xmlns:a16="http://schemas.microsoft.com/office/drawing/2014/main" id="{E264CE28-83CA-4C48-A548-EE9D1FD6A3F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873019" y="539266"/>
            <a:ext cx="1620918" cy="1514981"/>
          </a:xfrm>
          <a:prstGeom prst="rect">
            <a:avLst/>
          </a:prstGeom>
          <a:ln w="12700" cap="flat">
            <a:noFill/>
            <a:miter lim="400000"/>
          </a:ln>
          <a:effectLst/>
        </p:spPr>
      </p:pic>
      <p:grpSp>
        <p:nvGrpSpPr>
          <p:cNvPr id="156" name="Agrupar 155">
            <a:extLst>
              <a:ext uri="{FF2B5EF4-FFF2-40B4-BE49-F238E27FC236}">
                <a16:creationId xmlns:a16="http://schemas.microsoft.com/office/drawing/2014/main" id="{178D9283-DE59-438F-8928-8602B9CC0E17}"/>
              </a:ext>
            </a:extLst>
          </p:cNvPr>
          <p:cNvGrpSpPr/>
          <p:nvPr/>
        </p:nvGrpSpPr>
        <p:grpSpPr>
          <a:xfrm>
            <a:off x="1294171" y="4364556"/>
            <a:ext cx="6705783" cy="687664"/>
            <a:chOff x="128381" y="1934981"/>
            <a:chExt cx="12716540" cy="1304054"/>
          </a:xfrm>
        </p:grpSpPr>
        <p:pic>
          <p:nvPicPr>
            <p:cNvPr id="157" name="Imagem 156">
              <a:extLst>
                <a:ext uri="{FF2B5EF4-FFF2-40B4-BE49-F238E27FC236}">
                  <a16:creationId xmlns:a16="http://schemas.microsoft.com/office/drawing/2014/main" id="{0CCB39BB-A959-4D97-8255-E1FF573E747C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email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245160" y="2609190"/>
              <a:ext cx="570670" cy="570670"/>
            </a:xfrm>
            <a:prstGeom prst="rect">
              <a:avLst/>
            </a:prstGeom>
          </p:spPr>
        </p:pic>
        <p:sp>
          <p:nvSpPr>
            <p:cNvPr id="158" name="Retângulo 157">
              <a:extLst>
                <a:ext uri="{FF2B5EF4-FFF2-40B4-BE49-F238E27FC236}">
                  <a16:creationId xmlns:a16="http://schemas.microsoft.com/office/drawing/2014/main" id="{A4910DAF-5541-424A-8346-28612A6F464B}"/>
                </a:ext>
              </a:extLst>
            </p:cNvPr>
            <p:cNvSpPr/>
            <p:nvPr/>
          </p:nvSpPr>
          <p:spPr>
            <a:xfrm>
              <a:off x="934579" y="1943965"/>
              <a:ext cx="11141527" cy="715396"/>
            </a:xfrm>
            <a:prstGeom prst="rect">
              <a:avLst/>
            </a:prstGeom>
            <a:solidFill>
              <a:schemeClr val="bg2">
                <a:lumMod val="75000"/>
              </a:schemeClr>
            </a:solidFill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26789" tIns="26789" rIns="26789" bIns="26789" numCol="1" spcCol="38100" rtlCol="0" anchor="ctr">
              <a:noAutofit/>
            </a:bodyPr>
            <a:lstStyle/>
            <a:p>
              <a:endParaRPr lang="pt-BR" sz="1160" dirty="0">
                <a:solidFill>
                  <a:srgbClr val="FFFFFF"/>
                </a:solidFill>
                <a:sym typeface="Helvetica Neue Medium"/>
              </a:endParaRPr>
            </a:p>
          </p:txBody>
        </p:sp>
        <p:sp>
          <p:nvSpPr>
            <p:cNvPr id="159" name="CaixaDeTexto 158">
              <a:extLst>
                <a:ext uri="{FF2B5EF4-FFF2-40B4-BE49-F238E27FC236}">
                  <a16:creationId xmlns:a16="http://schemas.microsoft.com/office/drawing/2014/main" id="{9E493D32-46BE-490E-B929-DFE4482926AE}"/>
                </a:ext>
              </a:extLst>
            </p:cNvPr>
            <p:cNvSpPr txBox="1"/>
            <p:nvPr/>
          </p:nvSpPr>
          <p:spPr>
            <a:xfrm flipH="1">
              <a:off x="1024651" y="2138200"/>
              <a:ext cx="1290327" cy="317939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26789" tIns="26789" rIns="26789" bIns="26789" numCol="1" spcCol="38100" rtlCol="0" anchor="ctr">
              <a:spAutoFit/>
            </a:bodyPr>
            <a:lstStyle/>
            <a:p>
              <a:r>
                <a:rPr lang="pt-BR" sz="738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Oportunidade</a:t>
              </a:r>
            </a:p>
          </p:txBody>
        </p:sp>
        <p:pic>
          <p:nvPicPr>
            <p:cNvPr id="160" name="Imagem 159">
              <a:extLst>
                <a:ext uri="{FF2B5EF4-FFF2-40B4-BE49-F238E27FC236}">
                  <a16:creationId xmlns:a16="http://schemas.microsoft.com/office/drawing/2014/main" id="{2301C9E5-78BA-44B1-93BF-7DA301F6BB29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82967" y="2705338"/>
              <a:ext cx="497756" cy="497756"/>
            </a:xfrm>
            <a:prstGeom prst="rect">
              <a:avLst/>
            </a:prstGeom>
          </p:spPr>
        </p:pic>
        <p:sp>
          <p:nvSpPr>
            <p:cNvPr id="161" name="CaixaDeTexto 160">
              <a:extLst>
                <a:ext uri="{FF2B5EF4-FFF2-40B4-BE49-F238E27FC236}">
                  <a16:creationId xmlns:a16="http://schemas.microsoft.com/office/drawing/2014/main" id="{24222BC0-0680-4887-8164-596CDAB674EE}"/>
                </a:ext>
              </a:extLst>
            </p:cNvPr>
            <p:cNvSpPr txBox="1"/>
            <p:nvPr/>
          </p:nvSpPr>
          <p:spPr>
            <a:xfrm flipH="1">
              <a:off x="1631155" y="2679066"/>
              <a:ext cx="584564" cy="264316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26789" tIns="26789" rIns="26789" bIns="26789" numCol="1" spcCol="38100" rtlCol="0" anchor="ctr">
              <a:spAutoFit/>
            </a:bodyPr>
            <a:lstStyle/>
            <a:p>
              <a:r>
                <a:rPr lang="pt-BR" sz="554" dirty="0">
                  <a:solidFill>
                    <a:schemeClr val="bg2">
                      <a:lumMod val="50000"/>
                    </a:schemeClr>
                  </a:solidFill>
                </a:rPr>
                <a:t>BMC</a:t>
              </a:r>
            </a:p>
          </p:txBody>
        </p:sp>
        <p:sp>
          <p:nvSpPr>
            <p:cNvPr id="162" name="Retângulo 161">
              <a:extLst>
                <a:ext uri="{FF2B5EF4-FFF2-40B4-BE49-F238E27FC236}">
                  <a16:creationId xmlns:a16="http://schemas.microsoft.com/office/drawing/2014/main" id="{3BA020B3-4B8E-457A-A8DA-D07C12A3B92F}"/>
                </a:ext>
              </a:extLst>
            </p:cNvPr>
            <p:cNvSpPr/>
            <p:nvPr/>
          </p:nvSpPr>
          <p:spPr>
            <a:xfrm>
              <a:off x="2499786" y="1943965"/>
              <a:ext cx="1415136" cy="715396"/>
            </a:xfrm>
            <a:prstGeom prst="rect">
              <a:avLst/>
            </a:prstGeom>
            <a:solidFill>
              <a:schemeClr val="tx1">
                <a:lumMod val="75000"/>
                <a:lumOff val="25000"/>
              </a:schemeClr>
            </a:solidFill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26789" tIns="26789" rIns="26789" bIns="26789" numCol="1" spcCol="38100" rtlCol="0" anchor="ctr">
              <a:noAutofit/>
            </a:bodyPr>
            <a:lstStyle/>
            <a:p>
              <a:r>
                <a:rPr lang="pt-BR" sz="554" dirty="0">
                  <a:solidFill>
                    <a:schemeClr val="tx2">
                      <a:lumMod val="20000"/>
                      <a:lumOff val="80000"/>
                    </a:schemeClr>
                  </a:solidFill>
                  <a:sym typeface="Helvetica Neue Medium"/>
                </a:rPr>
                <a:t>Aprovação e Priorização</a:t>
              </a:r>
            </a:p>
          </p:txBody>
        </p:sp>
        <p:sp>
          <p:nvSpPr>
            <p:cNvPr id="163" name="CaixaDeTexto 162">
              <a:extLst>
                <a:ext uri="{FF2B5EF4-FFF2-40B4-BE49-F238E27FC236}">
                  <a16:creationId xmlns:a16="http://schemas.microsoft.com/office/drawing/2014/main" id="{98D713BE-CC95-4A1E-931A-ED591133A269}"/>
                </a:ext>
              </a:extLst>
            </p:cNvPr>
            <p:cNvSpPr txBox="1"/>
            <p:nvPr/>
          </p:nvSpPr>
          <p:spPr>
            <a:xfrm>
              <a:off x="1357886" y="2824130"/>
              <a:ext cx="1132776" cy="379830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26789" tIns="26789" rIns="26789" bIns="26789" numCol="1" spcCol="38100" rtlCol="0" anchor="ctr">
              <a:spAutoFit/>
            </a:bodyPr>
            <a:lstStyle/>
            <a:p>
              <a:r>
                <a:rPr lang="pt-BR" sz="475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Business </a:t>
              </a:r>
              <a:r>
                <a:rPr lang="pt-BR" sz="475" dirty="0" err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Model</a:t>
              </a:r>
              <a:r>
                <a:rPr lang="pt-BR" sz="475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  </a:t>
              </a:r>
              <a:r>
                <a:rPr lang="pt-BR" sz="475" dirty="0" err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Canvas</a:t>
              </a:r>
              <a:endParaRPr lang="pt-BR" sz="475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164" name="CaixaDeTexto 163">
              <a:extLst>
                <a:ext uri="{FF2B5EF4-FFF2-40B4-BE49-F238E27FC236}">
                  <a16:creationId xmlns:a16="http://schemas.microsoft.com/office/drawing/2014/main" id="{1666B439-855B-4A37-8A93-072A5F727B05}"/>
                </a:ext>
              </a:extLst>
            </p:cNvPr>
            <p:cNvSpPr txBox="1"/>
            <p:nvPr/>
          </p:nvSpPr>
          <p:spPr>
            <a:xfrm flipH="1">
              <a:off x="3893754" y="2142692"/>
              <a:ext cx="1290327" cy="317939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26789" tIns="26789" rIns="26789" bIns="26789" numCol="1" spcCol="38100" rtlCol="0" anchor="ctr">
              <a:spAutoFit/>
            </a:bodyPr>
            <a:lstStyle/>
            <a:p>
              <a:r>
                <a:rPr lang="pt-BR" sz="738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Refinamento</a:t>
              </a:r>
            </a:p>
          </p:txBody>
        </p:sp>
        <p:pic>
          <p:nvPicPr>
            <p:cNvPr id="165" name="Imagem 164">
              <a:extLst>
                <a:ext uri="{FF2B5EF4-FFF2-40B4-BE49-F238E27FC236}">
                  <a16:creationId xmlns:a16="http://schemas.microsoft.com/office/drawing/2014/main" id="{258D5B16-C6F9-460C-98DE-C2A529176167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63020" y="2692922"/>
              <a:ext cx="497756" cy="497756"/>
            </a:xfrm>
            <a:prstGeom prst="rect">
              <a:avLst/>
            </a:prstGeom>
          </p:spPr>
        </p:pic>
        <p:sp>
          <p:nvSpPr>
            <p:cNvPr id="166" name="CaixaDeTexto 165">
              <a:extLst>
                <a:ext uri="{FF2B5EF4-FFF2-40B4-BE49-F238E27FC236}">
                  <a16:creationId xmlns:a16="http://schemas.microsoft.com/office/drawing/2014/main" id="{A1B6DA6D-BFDC-4A5D-A7CD-7D46EE0D0549}"/>
                </a:ext>
              </a:extLst>
            </p:cNvPr>
            <p:cNvSpPr txBox="1"/>
            <p:nvPr/>
          </p:nvSpPr>
          <p:spPr>
            <a:xfrm flipH="1">
              <a:off x="4551066" y="2719611"/>
              <a:ext cx="584564" cy="264316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26789" tIns="26789" rIns="26789" bIns="26789" numCol="1" spcCol="38100" rtlCol="0" anchor="ctr">
              <a:spAutoFit/>
            </a:bodyPr>
            <a:lstStyle/>
            <a:p>
              <a:r>
                <a:rPr lang="pt-BR" sz="554" dirty="0">
                  <a:solidFill>
                    <a:schemeClr val="bg2">
                      <a:lumMod val="50000"/>
                    </a:schemeClr>
                  </a:solidFill>
                </a:rPr>
                <a:t>BMC 2</a:t>
              </a:r>
            </a:p>
          </p:txBody>
        </p:sp>
        <p:sp>
          <p:nvSpPr>
            <p:cNvPr id="167" name="CaixaDeTexto 166">
              <a:extLst>
                <a:ext uri="{FF2B5EF4-FFF2-40B4-BE49-F238E27FC236}">
                  <a16:creationId xmlns:a16="http://schemas.microsoft.com/office/drawing/2014/main" id="{177CE7DB-A24C-433B-948A-0D723EFBAE54}"/>
                </a:ext>
              </a:extLst>
            </p:cNvPr>
            <p:cNvSpPr txBox="1"/>
            <p:nvPr/>
          </p:nvSpPr>
          <p:spPr>
            <a:xfrm>
              <a:off x="4405458" y="2928410"/>
              <a:ext cx="771365" cy="241212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none" lIns="26789" tIns="26789" rIns="26789" bIns="26789" numCol="1" spcCol="38100" rtlCol="0" anchor="ctr">
              <a:spAutoFit/>
            </a:bodyPr>
            <a:lstStyle/>
            <a:p>
              <a:r>
                <a:rPr lang="pt-BR" sz="475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Complemento</a:t>
              </a:r>
            </a:p>
          </p:txBody>
        </p:sp>
        <p:sp>
          <p:nvSpPr>
            <p:cNvPr id="168" name="Retângulo 167">
              <a:extLst>
                <a:ext uri="{FF2B5EF4-FFF2-40B4-BE49-F238E27FC236}">
                  <a16:creationId xmlns:a16="http://schemas.microsoft.com/office/drawing/2014/main" id="{0F312008-62DE-4E3A-AB2B-2458FFBF07EA}"/>
                </a:ext>
              </a:extLst>
            </p:cNvPr>
            <p:cNvSpPr/>
            <p:nvPr/>
          </p:nvSpPr>
          <p:spPr>
            <a:xfrm>
              <a:off x="128381" y="1943966"/>
              <a:ext cx="752070" cy="715396"/>
            </a:xfrm>
            <a:prstGeom prst="rect">
              <a:avLst/>
            </a:prstGeom>
            <a:solidFill>
              <a:srgbClr val="C00000"/>
            </a:solidFill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26789" tIns="26789" rIns="26789" bIns="26789" numCol="1" spcCol="38100" rtlCol="0" anchor="ctr">
              <a:noAutofit/>
            </a:bodyPr>
            <a:lstStyle/>
            <a:p>
              <a:r>
                <a:rPr lang="pt-BR" sz="580" dirty="0">
                  <a:solidFill>
                    <a:srgbClr val="FFFFFF"/>
                  </a:solidFill>
                  <a:sym typeface="Helvetica Neue Medium"/>
                </a:rPr>
                <a:t>Fluxo Produtivo</a:t>
              </a:r>
            </a:p>
          </p:txBody>
        </p:sp>
        <p:sp>
          <p:nvSpPr>
            <p:cNvPr id="169" name="Retângulo 168">
              <a:extLst>
                <a:ext uri="{FF2B5EF4-FFF2-40B4-BE49-F238E27FC236}">
                  <a16:creationId xmlns:a16="http://schemas.microsoft.com/office/drawing/2014/main" id="{330CDF90-0825-4771-9013-CBDB0B4C27F9}"/>
                </a:ext>
              </a:extLst>
            </p:cNvPr>
            <p:cNvSpPr/>
            <p:nvPr/>
          </p:nvSpPr>
          <p:spPr>
            <a:xfrm>
              <a:off x="5263607" y="1943965"/>
              <a:ext cx="1415136" cy="715396"/>
            </a:xfrm>
            <a:prstGeom prst="rect">
              <a:avLst/>
            </a:prstGeom>
            <a:solidFill>
              <a:schemeClr val="tx1">
                <a:lumMod val="75000"/>
                <a:lumOff val="25000"/>
              </a:schemeClr>
            </a:solidFill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26789" tIns="26789" rIns="26789" bIns="26789" numCol="1" spcCol="38100" rtlCol="0" anchor="ctr">
              <a:noAutofit/>
            </a:bodyPr>
            <a:lstStyle/>
            <a:p>
              <a:r>
                <a:rPr lang="pt-BR" sz="554" dirty="0">
                  <a:solidFill>
                    <a:schemeClr val="tx2">
                      <a:lumMod val="20000"/>
                      <a:lumOff val="80000"/>
                    </a:schemeClr>
                  </a:solidFill>
                  <a:sym typeface="Helvetica Neue Medium"/>
                </a:rPr>
                <a:t>Aprovação e Priorização Corporativa</a:t>
              </a:r>
            </a:p>
          </p:txBody>
        </p:sp>
        <p:pic>
          <p:nvPicPr>
            <p:cNvPr id="170" name="Imagem 169">
              <a:extLst>
                <a:ext uri="{FF2B5EF4-FFF2-40B4-BE49-F238E27FC236}">
                  <a16:creationId xmlns:a16="http://schemas.microsoft.com/office/drawing/2014/main" id="{E21F5F06-867F-41AF-8F66-C31420ED54D9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email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557187" y="2671717"/>
              <a:ext cx="530286" cy="530286"/>
            </a:xfrm>
            <a:prstGeom prst="rect">
              <a:avLst/>
            </a:prstGeom>
          </p:spPr>
        </p:pic>
        <p:sp>
          <p:nvSpPr>
            <p:cNvPr id="171" name="CaixaDeTexto 170">
              <a:extLst>
                <a:ext uri="{FF2B5EF4-FFF2-40B4-BE49-F238E27FC236}">
                  <a16:creationId xmlns:a16="http://schemas.microsoft.com/office/drawing/2014/main" id="{ADC654CE-F0B9-405A-A183-55820B925A3A}"/>
                </a:ext>
              </a:extLst>
            </p:cNvPr>
            <p:cNvSpPr txBox="1"/>
            <p:nvPr/>
          </p:nvSpPr>
          <p:spPr>
            <a:xfrm>
              <a:off x="3023938" y="2662398"/>
              <a:ext cx="807843" cy="379830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none" lIns="26789" tIns="26789" rIns="26789" bIns="26789" numCol="1" spcCol="38100" rtlCol="0" anchor="t">
              <a:spAutoFit/>
            </a:bodyPr>
            <a:lstStyle/>
            <a:p>
              <a:r>
                <a:rPr lang="pt-BR" sz="475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Backlog de </a:t>
              </a:r>
            </a:p>
            <a:p>
              <a:r>
                <a:rPr lang="pt-BR" sz="475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Oportunidades</a:t>
              </a:r>
            </a:p>
          </p:txBody>
        </p:sp>
        <p:sp>
          <p:nvSpPr>
            <p:cNvPr id="172" name="Retângulo 171">
              <a:extLst>
                <a:ext uri="{FF2B5EF4-FFF2-40B4-BE49-F238E27FC236}">
                  <a16:creationId xmlns:a16="http://schemas.microsoft.com/office/drawing/2014/main" id="{0E499442-2459-4281-B497-079057DB7395}"/>
                </a:ext>
              </a:extLst>
            </p:cNvPr>
            <p:cNvSpPr/>
            <p:nvPr/>
          </p:nvSpPr>
          <p:spPr>
            <a:xfrm>
              <a:off x="128978" y="2705338"/>
              <a:ext cx="750798" cy="496665"/>
            </a:xfrm>
            <a:prstGeom prst="rect">
              <a:avLst/>
            </a:prstGeom>
            <a:solidFill>
              <a:schemeClr val="bg2">
                <a:alpha val="71000"/>
              </a:schemeClr>
            </a:solidFill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26789" tIns="26789" rIns="26789" bIns="26789" numCol="1" spcCol="38100" rtlCol="0" anchor="ctr">
              <a:noAutofit/>
            </a:bodyPr>
            <a:lstStyle/>
            <a:p>
              <a:r>
                <a:rPr lang="pt-BR" sz="475" dirty="0">
                  <a:solidFill>
                    <a:schemeClr val="tx1">
                      <a:lumMod val="75000"/>
                      <a:lumOff val="25000"/>
                    </a:schemeClr>
                  </a:solidFill>
                  <a:sym typeface="Helvetica Neue Medium"/>
                </a:rPr>
                <a:t>Artefato</a:t>
              </a:r>
            </a:p>
          </p:txBody>
        </p:sp>
        <p:pic>
          <p:nvPicPr>
            <p:cNvPr id="173" name="Picture 4" descr="Resultado de imagem para backlog png">
              <a:extLst>
                <a:ext uri="{FF2B5EF4-FFF2-40B4-BE49-F238E27FC236}">
                  <a16:creationId xmlns:a16="http://schemas.microsoft.com/office/drawing/2014/main" id="{45EC4B08-9867-47DA-B96D-92DEAD1F946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 cstate="email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359424" y="2679027"/>
              <a:ext cx="503680" cy="50368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74" name="CaixaDeTexto 173">
              <a:extLst>
                <a:ext uri="{FF2B5EF4-FFF2-40B4-BE49-F238E27FC236}">
                  <a16:creationId xmlns:a16="http://schemas.microsoft.com/office/drawing/2014/main" id="{ECA9A7D6-D4C1-450A-90A3-E6C2B672D18D}"/>
                </a:ext>
              </a:extLst>
            </p:cNvPr>
            <p:cNvSpPr txBox="1"/>
            <p:nvPr/>
          </p:nvSpPr>
          <p:spPr>
            <a:xfrm>
              <a:off x="5873593" y="2646637"/>
              <a:ext cx="719687" cy="410229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none" lIns="26789" tIns="26789" rIns="26789" bIns="26789" numCol="1" spcCol="38100" rtlCol="0" anchor="ctr">
              <a:spAutoFit/>
            </a:bodyPr>
            <a:lstStyle/>
            <a:p>
              <a:r>
                <a:rPr lang="pt-BR" sz="527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Backlog</a:t>
              </a:r>
            </a:p>
            <a:p>
              <a:r>
                <a:rPr lang="pt-BR" sz="527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Corporativo</a:t>
              </a:r>
            </a:p>
          </p:txBody>
        </p:sp>
        <p:sp>
          <p:nvSpPr>
            <p:cNvPr id="175" name="CaixaDeTexto 174">
              <a:extLst>
                <a:ext uri="{FF2B5EF4-FFF2-40B4-BE49-F238E27FC236}">
                  <a16:creationId xmlns:a16="http://schemas.microsoft.com/office/drawing/2014/main" id="{3C93F081-F805-4BE4-96DF-360D48A27D05}"/>
                </a:ext>
              </a:extLst>
            </p:cNvPr>
            <p:cNvSpPr txBox="1"/>
            <p:nvPr/>
          </p:nvSpPr>
          <p:spPr>
            <a:xfrm flipH="1">
              <a:off x="6806518" y="2035021"/>
              <a:ext cx="1290327" cy="533283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26789" tIns="26789" rIns="26789" bIns="26789" numCol="1" spcCol="38100" rtlCol="0" anchor="ctr">
              <a:spAutoFit/>
            </a:bodyPr>
            <a:lstStyle/>
            <a:p>
              <a:r>
                <a:rPr lang="pt-BR" sz="738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Estratégia de Entrega</a:t>
              </a:r>
            </a:p>
          </p:txBody>
        </p:sp>
        <p:pic>
          <p:nvPicPr>
            <p:cNvPr id="176" name="Imagem 175">
              <a:extLst>
                <a:ext uri="{FF2B5EF4-FFF2-40B4-BE49-F238E27FC236}">
                  <a16:creationId xmlns:a16="http://schemas.microsoft.com/office/drawing/2014/main" id="{0E91B855-11A1-4E35-A487-0073C9E9BD90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email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768863" y="2696384"/>
              <a:ext cx="444593" cy="444593"/>
            </a:xfrm>
            <a:prstGeom prst="rect">
              <a:avLst/>
            </a:prstGeom>
          </p:spPr>
        </p:pic>
        <p:sp>
          <p:nvSpPr>
            <p:cNvPr id="177" name="CaixaDeTexto 176">
              <a:extLst>
                <a:ext uri="{FF2B5EF4-FFF2-40B4-BE49-F238E27FC236}">
                  <a16:creationId xmlns:a16="http://schemas.microsoft.com/office/drawing/2014/main" id="{2B4C35B1-8B57-4F48-8267-9EF3A73F3745}"/>
                </a:ext>
              </a:extLst>
            </p:cNvPr>
            <p:cNvSpPr txBox="1"/>
            <p:nvPr/>
          </p:nvSpPr>
          <p:spPr>
            <a:xfrm>
              <a:off x="7370795" y="2623283"/>
              <a:ext cx="598093" cy="564167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none" lIns="26789" tIns="26789" rIns="26789" bIns="26789" numCol="1" spcCol="38100" rtlCol="0" anchor="t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pt-BR" sz="527" dirty="0" err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Roadmap</a:t>
              </a:r>
              <a:endParaRPr lang="pt-BR" sz="527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  <a:p>
              <a:pPr>
                <a:lnSpc>
                  <a:spcPct val="150000"/>
                </a:lnSpc>
              </a:pPr>
              <a:r>
                <a:rPr lang="pt-BR" sz="527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Épicos</a:t>
              </a:r>
            </a:p>
          </p:txBody>
        </p:sp>
        <p:sp>
          <p:nvSpPr>
            <p:cNvPr id="178" name="Retângulo 177">
              <a:extLst>
                <a:ext uri="{FF2B5EF4-FFF2-40B4-BE49-F238E27FC236}">
                  <a16:creationId xmlns:a16="http://schemas.microsoft.com/office/drawing/2014/main" id="{55CBBB60-C890-417E-9677-90FFD1D85410}"/>
                </a:ext>
              </a:extLst>
            </p:cNvPr>
            <p:cNvSpPr/>
            <p:nvPr/>
          </p:nvSpPr>
          <p:spPr>
            <a:xfrm>
              <a:off x="8254090" y="1939473"/>
              <a:ext cx="1185715" cy="715396"/>
            </a:xfrm>
            <a:prstGeom prst="rect">
              <a:avLst/>
            </a:prstGeom>
            <a:solidFill>
              <a:schemeClr val="tx1">
                <a:lumMod val="75000"/>
                <a:lumOff val="25000"/>
              </a:schemeClr>
            </a:solidFill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26789" tIns="26789" rIns="26789" bIns="26789" numCol="1" spcCol="38100" rtlCol="0" anchor="ctr">
              <a:noAutofit/>
            </a:bodyPr>
            <a:lstStyle/>
            <a:p>
              <a:r>
                <a:rPr lang="pt-BR" sz="554" dirty="0">
                  <a:solidFill>
                    <a:schemeClr val="tx2">
                      <a:lumMod val="20000"/>
                      <a:lumOff val="80000"/>
                    </a:schemeClr>
                  </a:solidFill>
                  <a:sym typeface="Helvetica Neue Medium"/>
                </a:rPr>
                <a:t>Épicos </a:t>
              </a:r>
            </a:p>
            <a:p>
              <a:r>
                <a:rPr lang="pt-BR" sz="554" dirty="0">
                  <a:solidFill>
                    <a:schemeClr val="tx2">
                      <a:lumMod val="20000"/>
                      <a:lumOff val="80000"/>
                    </a:schemeClr>
                  </a:solidFill>
                  <a:sym typeface="Helvetica Neue Medium"/>
                </a:rPr>
                <a:t>Priorizados</a:t>
              </a:r>
            </a:p>
          </p:txBody>
        </p:sp>
        <p:sp>
          <p:nvSpPr>
            <p:cNvPr id="179" name="CaixaDeTexto 178">
              <a:extLst>
                <a:ext uri="{FF2B5EF4-FFF2-40B4-BE49-F238E27FC236}">
                  <a16:creationId xmlns:a16="http://schemas.microsoft.com/office/drawing/2014/main" id="{0AF90CD7-20E7-4D70-91FE-77C7F4013594}"/>
                </a:ext>
              </a:extLst>
            </p:cNvPr>
            <p:cNvSpPr txBox="1"/>
            <p:nvPr/>
          </p:nvSpPr>
          <p:spPr>
            <a:xfrm>
              <a:off x="8744375" y="2712420"/>
              <a:ext cx="570670" cy="410229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26789" tIns="26789" rIns="26789" bIns="26789" numCol="1" spcCol="38100" rtlCol="0" anchor="t">
              <a:spAutoFit/>
            </a:bodyPr>
            <a:lstStyle/>
            <a:p>
              <a:r>
                <a:rPr lang="pt-BR" sz="527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Backlog</a:t>
              </a:r>
            </a:p>
            <a:p>
              <a:r>
                <a:rPr lang="pt-BR" sz="527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Épicos</a:t>
              </a:r>
            </a:p>
          </p:txBody>
        </p:sp>
        <p:sp>
          <p:nvSpPr>
            <p:cNvPr id="180" name="CaixaDeTexto 179">
              <a:extLst>
                <a:ext uri="{FF2B5EF4-FFF2-40B4-BE49-F238E27FC236}">
                  <a16:creationId xmlns:a16="http://schemas.microsoft.com/office/drawing/2014/main" id="{B856293A-76CF-433C-9829-F5AA0D039540}"/>
                </a:ext>
              </a:extLst>
            </p:cNvPr>
            <p:cNvSpPr txBox="1"/>
            <p:nvPr/>
          </p:nvSpPr>
          <p:spPr>
            <a:xfrm flipH="1">
              <a:off x="9499807" y="2138200"/>
              <a:ext cx="1307360" cy="317939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26789" tIns="26789" rIns="26789" bIns="26789" numCol="1" spcCol="38100" rtlCol="0" anchor="ctr">
              <a:spAutoFit/>
            </a:bodyPr>
            <a:lstStyle/>
            <a:p>
              <a:r>
                <a:rPr lang="pt-BR" sz="738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Construir</a:t>
              </a:r>
            </a:p>
          </p:txBody>
        </p:sp>
        <p:pic>
          <p:nvPicPr>
            <p:cNvPr id="181" name="Imagem 180">
              <a:extLst>
                <a:ext uri="{FF2B5EF4-FFF2-40B4-BE49-F238E27FC236}">
                  <a16:creationId xmlns:a16="http://schemas.microsoft.com/office/drawing/2014/main" id="{74D4A607-BFB1-4890-B144-C31190250AE6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email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544337" y="2698491"/>
              <a:ext cx="446781" cy="446781"/>
            </a:xfrm>
            <a:prstGeom prst="rect">
              <a:avLst/>
            </a:prstGeom>
          </p:spPr>
        </p:pic>
        <p:sp>
          <p:nvSpPr>
            <p:cNvPr id="182" name="CaixaDeTexto 181">
              <a:extLst>
                <a:ext uri="{FF2B5EF4-FFF2-40B4-BE49-F238E27FC236}">
                  <a16:creationId xmlns:a16="http://schemas.microsoft.com/office/drawing/2014/main" id="{7B8C2650-5310-4888-A5ED-707CC5D5D910}"/>
                </a:ext>
              </a:extLst>
            </p:cNvPr>
            <p:cNvSpPr txBox="1"/>
            <p:nvPr/>
          </p:nvSpPr>
          <p:spPr>
            <a:xfrm>
              <a:off x="9991118" y="2674777"/>
              <a:ext cx="776146" cy="564048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26789" tIns="26789" rIns="26789" bIns="26789" numCol="1" spcCol="38100" rtlCol="0" anchor="t">
              <a:spAutoFit/>
            </a:bodyPr>
            <a:lstStyle/>
            <a:p>
              <a:r>
                <a:rPr lang="pt-BR" sz="527" dirty="0" err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Agile</a:t>
              </a:r>
              <a:r>
                <a:rPr lang="pt-BR" sz="527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 Release </a:t>
              </a:r>
              <a:r>
                <a:rPr lang="pt-BR" sz="527" dirty="0" err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Train</a:t>
              </a:r>
              <a:endParaRPr lang="pt-BR" sz="527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183" name="CaixaDeTexto 182">
              <a:extLst>
                <a:ext uri="{FF2B5EF4-FFF2-40B4-BE49-F238E27FC236}">
                  <a16:creationId xmlns:a16="http://schemas.microsoft.com/office/drawing/2014/main" id="{3AC0F22E-F3D4-45FE-BE95-1C8568A5D48F}"/>
                </a:ext>
              </a:extLst>
            </p:cNvPr>
            <p:cNvSpPr txBox="1"/>
            <p:nvPr/>
          </p:nvSpPr>
          <p:spPr>
            <a:xfrm flipH="1">
              <a:off x="10823912" y="2137953"/>
              <a:ext cx="1252193" cy="317939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26789" tIns="26789" rIns="26789" bIns="26789" numCol="1" spcCol="38100" rtlCol="0" anchor="ctr">
              <a:spAutoFit/>
            </a:bodyPr>
            <a:lstStyle/>
            <a:p>
              <a:r>
                <a:rPr lang="pt-BR" sz="738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Medir</a:t>
              </a:r>
            </a:p>
          </p:txBody>
        </p:sp>
        <p:pic>
          <p:nvPicPr>
            <p:cNvPr id="184" name="Imagem 183">
              <a:extLst>
                <a:ext uri="{FF2B5EF4-FFF2-40B4-BE49-F238E27FC236}">
                  <a16:creationId xmlns:a16="http://schemas.microsoft.com/office/drawing/2014/main" id="{D9806703-6F84-4821-BBF7-3584C691E4CF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877326" y="2705338"/>
              <a:ext cx="698108" cy="392686"/>
            </a:xfrm>
            <a:prstGeom prst="rect">
              <a:avLst/>
            </a:prstGeom>
          </p:spPr>
        </p:pic>
        <p:sp>
          <p:nvSpPr>
            <p:cNvPr id="185" name="CaixaDeTexto 184">
              <a:extLst>
                <a:ext uri="{FF2B5EF4-FFF2-40B4-BE49-F238E27FC236}">
                  <a16:creationId xmlns:a16="http://schemas.microsoft.com/office/drawing/2014/main" id="{BD1E1E14-781B-444A-9F58-2CA2F367B187}"/>
                </a:ext>
              </a:extLst>
            </p:cNvPr>
            <p:cNvSpPr txBox="1"/>
            <p:nvPr/>
          </p:nvSpPr>
          <p:spPr>
            <a:xfrm flipH="1">
              <a:off x="11485696" y="2687431"/>
              <a:ext cx="584564" cy="426037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26789" tIns="26789" rIns="26789" bIns="26789" numCol="1" spcCol="38100" rtlCol="0" anchor="ctr">
              <a:spAutoFit/>
            </a:bodyPr>
            <a:lstStyle/>
            <a:p>
              <a:r>
                <a:rPr lang="pt-BR" sz="554" dirty="0">
                  <a:solidFill>
                    <a:schemeClr val="bg2">
                      <a:lumMod val="50000"/>
                    </a:schemeClr>
                  </a:solidFill>
                </a:rPr>
                <a:t>P&amp;L</a:t>
              </a:r>
            </a:p>
            <a:p>
              <a:r>
                <a:rPr lang="pt-BR" sz="554" dirty="0">
                  <a:solidFill>
                    <a:schemeClr val="bg2">
                      <a:lumMod val="50000"/>
                    </a:schemeClr>
                  </a:solidFill>
                </a:rPr>
                <a:t>BMC</a:t>
              </a:r>
            </a:p>
          </p:txBody>
        </p:sp>
        <p:sp>
          <p:nvSpPr>
            <p:cNvPr id="186" name="Retângulo 185">
              <a:extLst>
                <a:ext uri="{FF2B5EF4-FFF2-40B4-BE49-F238E27FC236}">
                  <a16:creationId xmlns:a16="http://schemas.microsoft.com/office/drawing/2014/main" id="{1D0AF451-9B7E-46CE-8D40-F42BB6377DFE}"/>
                </a:ext>
              </a:extLst>
            </p:cNvPr>
            <p:cNvSpPr/>
            <p:nvPr/>
          </p:nvSpPr>
          <p:spPr>
            <a:xfrm>
              <a:off x="12092851" y="1944693"/>
              <a:ext cx="752070" cy="715396"/>
            </a:xfrm>
            <a:prstGeom prst="rect">
              <a:avLst/>
            </a:prstGeom>
            <a:solidFill>
              <a:srgbClr val="00B050"/>
            </a:solidFill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26789" tIns="26789" rIns="26789" bIns="26789" numCol="1" spcCol="38100" rtlCol="0" anchor="ctr">
              <a:noAutofit/>
            </a:bodyPr>
            <a:lstStyle/>
            <a:p>
              <a:r>
                <a:rPr lang="pt-BR" sz="580" dirty="0">
                  <a:solidFill>
                    <a:srgbClr val="FFFFFF"/>
                  </a:solidFill>
                  <a:sym typeface="Helvetica Neue Medium"/>
                </a:rPr>
                <a:t>Encerrar</a:t>
              </a:r>
            </a:p>
          </p:txBody>
        </p:sp>
        <p:grpSp>
          <p:nvGrpSpPr>
            <p:cNvPr id="187" name="Agrupar 186">
              <a:extLst>
                <a:ext uri="{FF2B5EF4-FFF2-40B4-BE49-F238E27FC236}">
                  <a16:creationId xmlns:a16="http://schemas.microsoft.com/office/drawing/2014/main" id="{391C8D49-D7F7-4960-A052-6526DF355199}"/>
                </a:ext>
              </a:extLst>
            </p:cNvPr>
            <p:cNvGrpSpPr/>
            <p:nvPr/>
          </p:nvGrpSpPr>
          <p:grpSpPr>
            <a:xfrm>
              <a:off x="2486855" y="1934981"/>
              <a:ext cx="9595609" cy="1304054"/>
              <a:chOff x="2486855" y="1492563"/>
              <a:chExt cx="9595609" cy="6174137"/>
            </a:xfrm>
          </p:grpSpPr>
          <p:cxnSp>
            <p:nvCxnSpPr>
              <p:cNvPr id="188" name="Conector reto 187">
                <a:extLst>
                  <a:ext uri="{FF2B5EF4-FFF2-40B4-BE49-F238E27FC236}">
                    <a16:creationId xmlns:a16="http://schemas.microsoft.com/office/drawing/2014/main" id="{76B50611-4505-45B9-B971-129410E85E6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86855" y="1492565"/>
                <a:ext cx="0" cy="6174135"/>
              </a:xfrm>
              <a:prstGeom prst="line">
                <a:avLst/>
              </a:prstGeom>
              <a:noFill/>
              <a:ln w="25400" cap="flat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miter lim="4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</p:cxnSp>
          <p:cxnSp>
            <p:nvCxnSpPr>
              <p:cNvPr id="189" name="Conector reto 188">
                <a:extLst>
                  <a:ext uri="{FF2B5EF4-FFF2-40B4-BE49-F238E27FC236}">
                    <a16:creationId xmlns:a16="http://schemas.microsoft.com/office/drawing/2014/main" id="{FAE113BA-DA57-4B00-A1BD-B03F2EC6E63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915939" y="1492564"/>
                <a:ext cx="0" cy="6174135"/>
              </a:xfrm>
              <a:prstGeom prst="line">
                <a:avLst/>
              </a:prstGeom>
              <a:noFill/>
              <a:ln w="25400" cap="flat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miter lim="4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</p:cxnSp>
          <p:cxnSp>
            <p:nvCxnSpPr>
              <p:cNvPr id="190" name="Conector reto 189">
                <a:extLst>
                  <a:ext uri="{FF2B5EF4-FFF2-40B4-BE49-F238E27FC236}">
                    <a16:creationId xmlns:a16="http://schemas.microsoft.com/office/drawing/2014/main" id="{2AED7E58-7CDC-42FA-8675-5C614A8387E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251317" y="1492564"/>
                <a:ext cx="0" cy="6174135"/>
              </a:xfrm>
              <a:prstGeom prst="line">
                <a:avLst/>
              </a:prstGeom>
              <a:noFill/>
              <a:ln w="25400" cap="flat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miter lim="4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</p:cxnSp>
          <p:cxnSp>
            <p:nvCxnSpPr>
              <p:cNvPr id="191" name="Conector reto 190">
                <a:extLst>
                  <a:ext uri="{FF2B5EF4-FFF2-40B4-BE49-F238E27FC236}">
                    <a16:creationId xmlns:a16="http://schemas.microsoft.com/office/drawing/2014/main" id="{AD95B3A3-14B4-4336-B347-E097F7C1394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667524" y="1492563"/>
                <a:ext cx="0" cy="6174135"/>
              </a:xfrm>
              <a:prstGeom prst="line">
                <a:avLst/>
              </a:prstGeom>
              <a:noFill/>
              <a:ln w="25400" cap="flat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miter lim="4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</p:cxnSp>
          <p:cxnSp>
            <p:nvCxnSpPr>
              <p:cNvPr id="192" name="Conector reto 191">
                <a:extLst>
                  <a:ext uri="{FF2B5EF4-FFF2-40B4-BE49-F238E27FC236}">
                    <a16:creationId xmlns:a16="http://schemas.microsoft.com/office/drawing/2014/main" id="{5237D37B-9612-46B6-909C-7006D5E4FD7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252141" y="1492563"/>
                <a:ext cx="0" cy="6174135"/>
              </a:xfrm>
              <a:prstGeom prst="line">
                <a:avLst/>
              </a:prstGeom>
              <a:noFill/>
              <a:ln w="25400" cap="flat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miter lim="4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</p:cxnSp>
          <p:cxnSp>
            <p:nvCxnSpPr>
              <p:cNvPr id="193" name="Conector reto 192">
                <a:extLst>
                  <a:ext uri="{FF2B5EF4-FFF2-40B4-BE49-F238E27FC236}">
                    <a16:creationId xmlns:a16="http://schemas.microsoft.com/office/drawing/2014/main" id="{5F5C91D1-E826-482D-BFDB-4175E2525B5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9439805" y="1492563"/>
                <a:ext cx="0" cy="6174135"/>
              </a:xfrm>
              <a:prstGeom prst="line">
                <a:avLst/>
              </a:prstGeom>
              <a:noFill/>
              <a:ln w="25400" cap="flat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miter lim="4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</p:cxnSp>
          <p:cxnSp>
            <p:nvCxnSpPr>
              <p:cNvPr id="194" name="Conector reto 193">
                <a:extLst>
                  <a:ext uri="{FF2B5EF4-FFF2-40B4-BE49-F238E27FC236}">
                    <a16:creationId xmlns:a16="http://schemas.microsoft.com/office/drawing/2014/main" id="{3161763A-BAC3-4872-B678-219FBAE5BD5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823912" y="1492563"/>
                <a:ext cx="0" cy="6174135"/>
              </a:xfrm>
              <a:prstGeom prst="line">
                <a:avLst/>
              </a:prstGeom>
              <a:noFill/>
              <a:ln w="25400" cap="flat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miter lim="4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</p:cxnSp>
          <p:cxnSp>
            <p:nvCxnSpPr>
              <p:cNvPr id="195" name="Conector reto 194">
                <a:extLst>
                  <a:ext uri="{FF2B5EF4-FFF2-40B4-BE49-F238E27FC236}">
                    <a16:creationId xmlns:a16="http://schemas.microsoft.com/office/drawing/2014/main" id="{17AB21C8-0F42-4BE8-AA80-5ABA21AABF6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2082464" y="1492563"/>
                <a:ext cx="0" cy="6174135"/>
              </a:xfrm>
              <a:prstGeom prst="line">
                <a:avLst/>
              </a:prstGeom>
              <a:noFill/>
              <a:ln w="25400" cap="flat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miter lim="4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</p:cxnSp>
        </p:grpSp>
      </p:grpSp>
      <p:sp>
        <p:nvSpPr>
          <p:cNvPr id="196" name="Elipse 195">
            <a:extLst>
              <a:ext uri="{FF2B5EF4-FFF2-40B4-BE49-F238E27FC236}">
                <a16:creationId xmlns:a16="http://schemas.microsoft.com/office/drawing/2014/main" id="{671C1366-C882-4904-8282-83EB83A919F0}"/>
              </a:ext>
            </a:extLst>
          </p:cNvPr>
          <p:cNvSpPr/>
          <p:nvPr/>
        </p:nvSpPr>
        <p:spPr>
          <a:xfrm>
            <a:off x="3209258" y="3461060"/>
            <a:ext cx="860189" cy="796529"/>
          </a:xfrm>
          <a:prstGeom prst="ellipse">
            <a:avLst/>
          </a:prstGeom>
          <a:solidFill>
            <a:schemeClr val="bg1">
              <a:lumMod val="5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6789" tIns="26789" rIns="26789" bIns="26789" numCol="1" spcCol="38100" rtlCol="0" anchor="ctr">
            <a:noAutofit/>
          </a:bodyPr>
          <a:lstStyle/>
          <a:p>
            <a:r>
              <a:rPr lang="pt-BR" sz="738" dirty="0">
                <a:solidFill>
                  <a:srgbClr val="FFFFFF"/>
                </a:solidFill>
                <a:sym typeface="Helvetica Neue Medium"/>
              </a:rPr>
              <a:t>Participa  nesta  etapa  de forma efetiva</a:t>
            </a:r>
          </a:p>
          <a:p>
            <a:endParaRPr lang="pt-BR" sz="738" dirty="0">
              <a:solidFill>
                <a:srgbClr val="FFFFFF"/>
              </a:solidFill>
              <a:sym typeface="Helvetica Neue Medium"/>
            </a:endParaRPr>
          </a:p>
        </p:txBody>
      </p:sp>
      <p:sp>
        <p:nvSpPr>
          <p:cNvPr id="198" name="Elipse 197">
            <a:extLst>
              <a:ext uri="{FF2B5EF4-FFF2-40B4-BE49-F238E27FC236}">
                <a16:creationId xmlns:a16="http://schemas.microsoft.com/office/drawing/2014/main" id="{B2F6B906-D0D7-40B6-BE73-AD5059FA5844}"/>
              </a:ext>
            </a:extLst>
          </p:cNvPr>
          <p:cNvSpPr/>
          <p:nvPr/>
        </p:nvSpPr>
        <p:spPr>
          <a:xfrm>
            <a:off x="4714184" y="3437989"/>
            <a:ext cx="860189" cy="796529"/>
          </a:xfrm>
          <a:prstGeom prst="ellipse">
            <a:avLst/>
          </a:prstGeom>
          <a:solidFill>
            <a:schemeClr val="bg1">
              <a:lumMod val="5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6789" tIns="26789" rIns="26789" bIns="26789" numCol="1" spcCol="38100" rtlCol="0" anchor="ctr">
            <a:noAutofit/>
          </a:bodyPr>
          <a:lstStyle/>
          <a:p>
            <a:r>
              <a:rPr lang="pt-BR" sz="738" dirty="0">
                <a:solidFill>
                  <a:srgbClr val="FFFFFF"/>
                </a:solidFill>
                <a:sym typeface="Helvetica Neue Medium"/>
              </a:rPr>
              <a:t>Participa sob demanda ou necessidade</a:t>
            </a:r>
          </a:p>
          <a:p>
            <a:endParaRPr lang="pt-BR" sz="738" dirty="0">
              <a:solidFill>
                <a:srgbClr val="FFFFFF"/>
              </a:solidFill>
              <a:sym typeface="Helvetica Neue Medium"/>
            </a:endParaRPr>
          </a:p>
        </p:txBody>
      </p:sp>
      <p:sp>
        <p:nvSpPr>
          <p:cNvPr id="56" name="CaixaDeTexto 55">
            <a:extLst>
              <a:ext uri="{FF2B5EF4-FFF2-40B4-BE49-F238E27FC236}">
                <a16:creationId xmlns:a16="http://schemas.microsoft.com/office/drawing/2014/main" id="{A7CC2836-0435-4947-943A-BFAC625B8456}"/>
              </a:ext>
            </a:extLst>
          </p:cNvPr>
          <p:cNvSpPr txBox="1"/>
          <p:nvPr/>
        </p:nvSpPr>
        <p:spPr>
          <a:xfrm>
            <a:off x="3985179" y="821"/>
            <a:ext cx="982485" cy="28140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6789" tIns="26789" rIns="26789" bIns="26789" numCol="1" spcCol="38100" rtlCol="0" anchor="ctr">
            <a:spAutoFit/>
          </a:bodyPr>
          <a:lstStyle/>
          <a:p>
            <a:pPr algn="l"/>
            <a:r>
              <a:rPr lang="pt-BR" sz="1477" dirty="0"/>
              <a:t>Por que</a:t>
            </a:r>
            <a:endParaRPr lang="pt-BR" sz="1477" b="1" dirty="0">
              <a:solidFill>
                <a:srgbClr val="000000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57" name="CaixaDeTexto 56">
            <a:extLst>
              <a:ext uri="{FF2B5EF4-FFF2-40B4-BE49-F238E27FC236}">
                <a16:creationId xmlns:a16="http://schemas.microsoft.com/office/drawing/2014/main" id="{EEC59A60-D38D-4F61-B631-2628E20CAE3C}"/>
              </a:ext>
            </a:extLst>
          </p:cNvPr>
          <p:cNvSpPr txBox="1"/>
          <p:nvPr/>
        </p:nvSpPr>
        <p:spPr>
          <a:xfrm>
            <a:off x="3985179" y="748762"/>
            <a:ext cx="982485" cy="28140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6789" tIns="26789" rIns="26789" bIns="26789" numCol="1" spcCol="38100" rtlCol="0" anchor="ctr">
            <a:spAutoFit/>
          </a:bodyPr>
          <a:lstStyle/>
          <a:p>
            <a:pPr algn="l"/>
            <a:r>
              <a:rPr lang="pt-BR" sz="1477" dirty="0"/>
              <a:t>Quem é</a:t>
            </a:r>
            <a:endParaRPr lang="pt-BR" sz="1477" b="1" dirty="0">
              <a:solidFill>
                <a:srgbClr val="000000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58" name="CaixaDeTexto 57">
            <a:extLst>
              <a:ext uri="{FF2B5EF4-FFF2-40B4-BE49-F238E27FC236}">
                <a16:creationId xmlns:a16="http://schemas.microsoft.com/office/drawing/2014/main" id="{FC8867C3-AC20-4D61-84D2-A701CFFC2492}"/>
              </a:ext>
            </a:extLst>
          </p:cNvPr>
          <p:cNvSpPr txBox="1"/>
          <p:nvPr/>
        </p:nvSpPr>
        <p:spPr>
          <a:xfrm>
            <a:off x="3985179" y="1903828"/>
            <a:ext cx="982485" cy="28140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6789" tIns="26789" rIns="26789" bIns="26789" numCol="1" spcCol="38100" rtlCol="0" anchor="ctr">
            <a:spAutoFit/>
          </a:bodyPr>
          <a:lstStyle/>
          <a:p>
            <a:pPr algn="l"/>
            <a:r>
              <a:rPr lang="pt-BR" sz="1477" b="1" dirty="0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O que faz</a:t>
            </a:r>
          </a:p>
        </p:txBody>
      </p:sp>
      <p:sp>
        <p:nvSpPr>
          <p:cNvPr id="59" name="Seta para Cima 58">
            <a:hlinkClick r:id="" action="ppaction://noaction"/>
          </p:cNvPr>
          <p:cNvSpPr/>
          <p:nvPr/>
        </p:nvSpPr>
        <p:spPr>
          <a:xfrm>
            <a:off x="8840121" y="77048"/>
            <a:ext cx="200912" cy="282103"/>
          </a:xfrm>
          <a:prstGeom prst="upArrow">
            <a:avLst/>
          </a:prstGeom>
          <a:solidFill>
            <a:schemeClr val="accent5">
              <a:lumMod val="7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6789" tIns="26789" rIns="26789" bIns="26789" numCol="1" spcCol="38100" rtlCol="0" anchor="ctr">
            <a:spAutoFit/>
          </a:bodyPr>
          <a:lstStyle/>
          <a:p>
            <a:pPr algn="ctr" defTabSz="308063" hangingPunct="0"/>
            <a:endParaRPr lang="pt-BR" sz="1160">
              <a:solidFill>
                <a:srgbClr val="FFFFFF"/>
              </a:solidFill>
              <a:sym typeface="Helvetica Neue Medium"/>
            </a:endParaRPr>
          </a:p>
        </p:txBody>
      </p:sp>
      <p:sp>
        <p:nvSpPr>
          <p:cNvPr id="3" name="Espaço Reservado para Número de Slide 2">
            <a:extLst>
              <a:ext uri="{FF2B5EF4-FFF2-40B4-BE49-F238E27FC236}">
                <a16:creationId xmlns:a16="http://schemas.microsoft.com/office/drawing/2014/main" id="{E4BABBEA-7C2F-41C7-A7C8-9FC7F4F2DB48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>
          <a:xfrm>
            <a:off x="6418261" y="6972300"/>
            <a:ext cx="161904" cy="261610"/>
          </a:xfrm>
          <a:prstGeom prst="rect">
            <a:avLst/>
          </a:prstGeom>
          <a:ln w="12700">
            <a:miter lim="400000"/>
          </a:ln>
        </p:spPr>
        <p:txBody>
          <a:bodyPr wrap="none" lIns="38100" tIns="38100" rIns="38100" bIns="38100">
            <a:spAutoFit/>
          </a:bodyPr>
          <a:lstStyle>
            <a:defPPr marL="0" marR="0" indent="0" algn="l" defTabSz="6858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35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ctr" defTabSz="4381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  <a:lvl2pPr marL="0" marR="0" indent="171450" algn="ctr" defTabSz="4381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1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marL="0" marR="0" indent="342900" algn="ctr" defTabSz="4381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1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marL="0" marR="0" indent="514350" algn="ctr" defTabSz="4381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1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marL="0" marR="0" indent="685800" algn="ctr" defTabSz="4381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1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L="0" marR="0" indent="857250" algn="ctr" defTabSz="4381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1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L="0" marR="0" indent="1028700" algn="ctr" defTabSz="4381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1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L="0" marR="0" indent="1200150" algn="ctr" defTabSz="4381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1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L="0" marR="0" indent="1371600" algn="ctr" defTabSz="4381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1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fld id="{86CB4B4D-7CA3-9044-876B-883B54F8677D}" type="slidenum">
              <a:rPr lang="pt-BR" smtClean="0"/>
              <a:pPr/>
              <a:t>7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27801457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CaixaDeTexto 40">
            <a:extLst>
              <a:ext uri="{FF2B5EF4-FFF2-40B4-BE49-F238E27FC236}">
                <a16:creationId xmlns:a16="http://schemas.microsoft.com/office/drawing/2014/main" id="{BE979849-FA25-498E-8A8F-F1C2600FD4D5}"/>
              </a:ext>
            </a:extLst>
          </p:cNvPr>
          <p:cNvSpPr txBox="1"/>
          <p:nvPr/>
        </p:nvSpPr>
        <p:spPr>
          <a:xfrm>
            <a:off x="3355924" y="315375"/>
            <a:ext cx="5630465" cy="63836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6789" tIns="26789" rIns="26789" bIns="26789" numCol="1" spcCol="38100" rtlCol="0" anchor="ctr">
            <a:spAutoFit/>
          </a:bodyPr>
          <a:lstStyle/>
          <a:p>
            <a:pPr defTabSz="241093"/>
            <a:r>
              <a:rPr lang="pt-BR" sz="949" dirty="0">
                <a:solidFill>
                  <a:prstClr val="black"/>
                </a:solidFill>
                <a:latin typeface="Calibri" panose="020F0502020204030204"/>
              </a:rPr>
              <a:t>Esse profissional garantira a orquestração de atividades que ocorrem dentro de uma </a:t>
            </a:r>
            <a:r>
              <a:rPr lang="pt-BR" sz="949" i="1" dirty="0">
                <a:solidFill>
                  <a:prstClr val="black"/>
                </a:solidFill>
                <a:latin typeface="Calibri" panose="020F0502020204030204"/>
              </a:rPr>
              <a:t>release </a:t>
            </a:r>
            <a:r>
              <a:rPr lang="pt-BR" sz="949" i="1" dirty="0" err="1">
                <a:solidFill>
                  <a:prstClr val="black"/>
                </a:solidFill>
                <a:latin typeface="Calibri" panose="020F0502020204030204"/>
              </a:rPr>
              <a:t>train</a:t>
            </a:r>
            <a:r>
              <a:rPr lang="pt-BR" sz="949" dirty="0">
                <a:solidFill>
                  <a:prstClr val="black"/>
                </a:solidFill>
                <a:latin typeface="Calibri" panose="020F0502020204030204"/>
              </a:rPr>
              <a:t>. É um facilitador dos processos e eventos de entrega, para que se busque o valor planejado para as oportunidades. Para isso, ele garantirá a execução dos processos, blindará os times nas atividades planejadas e facilitará a remoção de impedimentos</a:t>
            </a:r>
            <a:endParaRPr lang="pt-BR" sz="949" dirty="0">
              <a:solidFill>
                <a:srgbClr val="000000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64" name="CaixaDeTexto 63">
            <a:extLst>
              <a:ext uri="{FF2B5EF4-FFF2-40B4-BE49-F238E27FC236}">
                <a16:creationId xmlns:a16="http://schemas.microsoft.com/office/drawing/2014/main" id="{8C21AC71-95DD-490B-9AEB-85D5A13E0C99}"/>
              </a:ext>
            </a:extLst>
          </p:cNvPr>
          <p:cNvSpPr txBox="1"/>
          <p:nvPr/>
        </p:nvSpPr>
        <p:spPr>
          <a:xfrm>
            <a:off x="3355923" y="1176212"/>
            <a:ext cx="4091480" cy="49229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6789" tIns="26789" rIns="26789" bIns="26789" numCol="1" spcCol="38100" rtlCol="0" anchor="ctr">
            <a:spAutoFit/>
          </a:bodyPr>
          <a:lstStyle/>
          <a:p>
            <a:pPr defTabSz="241093"/>
            <a:r>
              <a:rPr lang="pt-BR" sz="949" dirty="0">
                <a:solidFill>
                  <a:prstClr val="black"/>
                </a:solidFill>
                <a:latin typeface="Calibri" panose="020F0502020204030204"/>
              </a:rPr>
              <a:t>Técnico</a:t>
            </a:r>
          </a:p>
          <a:p>
            <a:pPr defTabSz="241093"/>
            <a:r>
              <a:rPr lang="pt-BR" sz="949" dirty="0">
                <a:solidFill>
                  <a:prstClr val="black"/>
                </a:solidFill>
                <a:latin typeface="Calibri" panose="020F0502020204030204"/>
              </a:rPr>
              <a:t>Um papel</a:t>
            </a:r>
          </a:p>
          <a:p>
            <a:pPr defTabSz="241093"/>
            <a:r>
              <a:rPr lang="pt-BR" sz="949" dirty="0">
                <a:solidFill>
                  <a:prstClr val="black"/>
                </a:solidFill>
                <a:latin typeface="Calibri" panose="020F0502020204030204"/>
              </a:rPr>
              <a:t>Responsável por garantir a sinergia entre os times suas entregas</a:t>
            </a:r>
          </a:p>
        </p:txBody>
      </p:sp>
      <p:sp>
        <p:nvSpPr>
          <p:cNvPr id="42" name="Retângulo 41">
            <a:extLst>
              <a:ext uri="{FF2B5EF4-FFF2-40B4-BE49-F238E27FC236}">
                <a16:creationId xmlns:a16="http://schemas.microsoft.com/office/drawing/2014/main" id="{E800C93C-9769-4212-A5F4-02CB71FC3F2B}"/>
              </a:ext>
            </a:extLst>
          </p:cNvPr>
          <p:cNvSpPr/>
          <p:nvPr/>
        </p:nvSpPr>
        <p:spPr>
          <a:xfrm>
            <a:off x="3363037" y="2068703"/>
            <a:ext cx="5050778" cy="169905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241093"/>
            <a:r>
              <a:rPr lang="pt-BR" sz="949" dirty="0">
                <a:solidFill>
                  <a:prstClr val="black"/>
                </a:solidFill>
                <a:latin typeface="Calibri" panose="020F0502020204030204"/>
              </a:rPr>
              <a:t>Facilita a PI </a:t>
            </a:r>
            <a:r>
              <a:rPr lang="pt-BR" sz="949" i="1" dirty="0">
                <a:solidFill>
                  <a:prstClr val="black"/>
                </a:solidFill>
                <a:latin typeface="Calibri" panose="020F0502020204030204"/>
              </a:rPr>
              <a:t>Planning</a:t>
            </a:r>
            <a:r>
              <a:rPr lang="pt-BR" sz="949" dirty="0">
                <a:solidFill>
                  <a:prstClr val="black"/>
                </a:solidFill>
                <a:latin typeface="Calibri" panose="020F0502020204030204"/>
              </a:rPr>
              <a:t> (</a:t>
            </a:r>
            <a:r>
              <a:rPr lang="pt-BR" sz="949" i="1" dirty="0" err="1">
                <a:solidFill>
                  <a:prstClr val="black"/>
                </a:solidFill>
                <a:latin typeface="Calibri" panose="020F0502020204030204"/>
              </a:rPr>
              <a:t>Program</a:t>
            </a:r>
            <a:r>
              <a:rPr lang="pt-BR" sz="949" i="1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pt-BR" sz="949" i="1" dirty="0" err="1">
                <a:solidFill>
                  <a:prstClr val="black"/>
                </a:solidFill>
                <a:latin typeface="Calibri" panose="020F0502020204030204"/>
              </a:rPr>
              <a:t>Increment</a:t>
            </a:r>
            <a:r>
              <a:rPr lang="pt-BR" sz="949" i="1" dirty="0">
                <a:solidFill>
                  <a:prstClr val="black"/>
                </a:solidFill>
                <a:latin typeface="Calibri" panose="020F0502020204030204"/>
              </a:rPr>
              <a:t> Planning</a:t>
            </a:r>
            <a:r>
              <a:rPr lang="pt-BR" sz="949" dirty="0">
                <a:solidFill>
                  <a:prstClr val="black"/>
                </a:solidFill>
                <a:latin typeface="Calibri" panose="020F0502020204030204"/>
              </a:rPr>
              <a:t>)</a:t>
            </a:r>
          </a:p>
          <a:p>
            <a:pPr defTabSz="241093"/>
            <a:r>
              <a:rPr lang="pt-BR" sz="949" dirty="0">
                <a:solidFill>
                  <a:prstClr val="black"/>
                </a:solidFill>
                <a:latin typeface="Calibri" panose="020F0502020204030204"/>
              </a:rPr>
              <a:t>Desbloqueia/escalona impedimentos</a:t>
            </a:r>
          </a:p>
          <a:p>
            <a:pPr defTabSz="241093"/>
            <a:r>
              <a:rPr lang="pt-BR" sz="949" dirty="0">
                <a:solidFill>
                  <a:prstClr val="black"/>
                </a:solidFill>
                <a:latin typeface="Calibri" panose="020F0502020204030204"/>
              </a:rPr>
              <a:t>Sincroniza as entregas</a:t>
            </a:r>
          </a:p>
          <a:p>
            <a:pPr defTabSz="241093"/>
            <a:r>
              <a:rPr lang="pt-BR" sz="949" dirty="0">
                <a:solidFill>
                  <a:prstClr val="black"/>
                </a:solidFill>
                <a:latin typeface="Calibri" panose="020F0502020204030204"/>
              </a:rPr>
              <a:t>Garante o cumprimento do processo do ART (</a:t>
            </a:r>
            <a:r>
              <a:rPr lang="pt-BR" sz="949" i="1" dirty="0" err="1">
                <a:solidFill>
                  <a:prstClr val="black"/>
                </a:solidFill>
                <a:latin typeface="Calibri" panose="020F0502020204030204"/>
              </a:rPr>
              <a:t>Agile</a:t>
            </a:r>
            <a:r>
              <a:rPr lang="pt-BR" sz="949" i="1" dirty="0">
                <a:solidFill>
                  <a:prstClr val="black"/>
                </a:solidFill>
                <a:latin typeface="Calibri" panose="020F0502020204030204"/>
              </a:rPr>
              <a:t> Release </a:t>
            </a:r>
            <a:r>
              <a:rPr lang="pt-BR" sz="949" i="1" dirty="0" err="1">
                <a:solidFill>
                  <a:prstClr val="black"/>
                </a:solidFill>
                <a:latin typeface="Calibri" panose="020F0502020204030204"/>
              </a:rPr>
              <a:t>Train</a:t>
            </a:r>
            <a:r>
              <a:rPr lang="pt-BR" sz="949" dirty="0">
                <a:solidFill>
                  <a:prstClr val="black"/>
                </a:solidFill>
                <a:latin typeface="Calibri" panose="020F0502020204030204"/>
              </a:rPr>
              <a:t>)</a:t>
            </a:r>
          </a:p>
          <a:p>
            <a:pPr defTabSz="241093"/>
            <a:r>
              <a:rPr lang="pt-BR" sz="949" dirty="0">
                <a:solidFill>
                  <a:prstClr val="black"/>
                </a:solidFill>
                <a:latin typeface="Calibri" panose="020F0502020204030204"/>
              </a:rPr>
              <a:t>Participa da estratégia de entrega</a:t>
            </a:r>
          </a:p>
          <a:p>
            <a:pPr defTabSz="241093"/>
            <a:r>
              <a:rPr lang="pt-BR" sz="949" dirty="0">
                <a:solidFill>
                  <a:prstClr val="black"/>
                </a:solidFill>
                <a:latin typeface="Calibri" panose="020F0502020204030204"/>
              </a:rPr>
              <a:t>Apoia para garantir que a estratégia de entrega gere valor</a:t>
            </a:r>
          </a:p>
          <a:p>
            <a:pPr defTabSz="241093"/>
            <a:r>
              <a:rPr lang="pt-BR" sz="949" dirty="0">
                <a:solidFill>
                  <a:prstClr val="black"/>
                </a:solidFill>
                <a:latin typeface="Calibri" panose="020F0502020204030204"/>
              </a:rPr>
              <a:t>Garante visibilidade dos artefatos (</a:t>
            </a:r>
            <a:r>
              <a:rPr lang="pt-BR" sz="949" i="1" dirty="0">
                <a:solidFill>
                  <a:prstClr val="black"/>
                </a:solidFill>
                <a:latin typeface="Calibri" panose="020F0502020204030204"/>
              </a:rPr>
              <a:t>Backlog</a:t>
            </a:r>
            <a:r>
              <a:rPr lang="pt-BR" sz="949" dirty="0">
                <a:solidFill>
                  <a:prstClr val="black"/>
                </a:solidFill>
                <a:latin typeface="Calibri" panose="020F0502020204030204"/>
              </a:rPr>
              <a:t> do ART, </a:t>
            </a:r>
            <a:r>
              <a:rPr lang="pt-BR" sz="949" i="1" dirty="0">
                <a:solidFill>
                  <a:prstClr val="black"/>
                </a:solidFill>
                <a:latin typeface="Calibri" panose="020F0502020204030204"/>
              </a:rPr>
              <a:t>Release </a:t>
            </a:r>
            <a:r>
              <a:rPr lang="pt-BR" sz="949" i="1" dirty="0" err="1">
                <a:solidFill>
                  <a:prstClr val="black"/>
                </a:solidFill>
                <a:latin typeface="Calibri" panose="020F0502020204030204"/>
              </a:rPr>
              <a:t>Burndown</a:t>
            </a:r>
            <a:r>
              <a:rPr lang="pt-BR" sz="949" i="1" dirty="0">
                <a:solidFill>
                  <a:prstClr val="black"/>
                </a:solidFill>
                <a:latin typeface="Calibri" panose="020F0502020204030204"/>
              </a:rPr>
              <a:t>, ..</a:t>
            </a:r>
            <a:r>
              <a:rPr lang="pt-BR" sz="949" dirty="0">
                <a:solidFill>
                  <a:prstClr val="black"/>
                </a:solidFill>
                <a:latin typeface="Calibri" panose="020F0502020204030204"/>
              </a:rPr>
              <a:t>) e evolução do ART</a:t>
            </a:r>
          </a:p>
          <a:p>
            <a:pPr defTabSz="241093"/>
            <a:r>
              <a:rPr lang="pt-BR" sz="949" dirty="0">
                <a:solidFill>
                  <a:prstClr val="black"/>
                </a:solidFill>
                <a:latin typeface="Calibri" panose="020F0502020204030204"/>
              </a:rPr>
              <a:t>Garante e acompanha a comunicação entre os times</a:t>
            </a:r>
          </a:p>
          <a:p>
            <a:pPr defTabSz="241093"/>
            <a:r>
              <a:rPr lang="pt-BR" sz="949" dirty="0">
                <a:solidFill>
                  <a:prstClr val="black"/>
                </a:solidFill>
                <a:latin typeface="Calibri" panose="020F0502020204030204"/>
              </a:rPr>
              <a:t>Conhece os </a:t>
            </a:r>
            <a:r>
              <a:rPr lang="pt-BR" sz="949" i="1" dirty="0">
                <a:solidFill>
                  <a:prstClr val="black"/>
                </a:solidFill>
                <a:latin typeface="Calibri" panose="020F0502020204030204"/>
              </a:rPr>
              <a:t>backlogs</a:t>
            </a:r>
          </a:p>
          <a:p>
            <a:pPr defTabSz="241093"/>
            <a:r>
              <a:rPr lang="pt-BR" sz="949" dirty="0">
                <a:solidFill>
                  <a:prstClr val="black"/>
                </a:solidFill>
                <a:latin typeface="Calibri" panose="020F0502020204030204"/>
              </a:rPr>
              <a:t>Acompanha a execução</a:t>
            </a:r>
          </a:p>
          <a:p>
            <a:pPr defTabSz="241093"/>
            <a:r>
              <a:rPr lang="pt-BR" sz="949" dirty="0">
                <a:solidFill>
                  <a:prstClr val="black"/>
                </a:solidFill>
                <a:latin typeface="Calibri" panose="020F0502020204030204"/>
              </a:rPr>
              <a:t>Gestão do ART</a:t>
            </a:r>
          </a:p>
        </p:txBody>
      </p:sp>
      <p:sp>
        <p:nvSpPr>
          <p:cNvPr id="60" name="RTE (Release Train Engineer)">
            <a:extLst>
              <a:ext uri="{FF2B5EF4-FFF2-40B4-BE49-F238E27FC236}">
                <a16:creationId xmlns:a16="http://schemas.microsoft.com/office/drawing/2014/main" id="{1F3EE3C1-C473-40BD-ABA5-E73D698F84E3}"/>
              </a:ext>
            </a:extLst>
          </p:cNvPr>
          <p:cNvSpPr txBox="1"/>
          <p:nvPr/>
        </p:nvSpPr>
        <p:spPr>
          <a:xfrm>
            <a:off x="723032" y="2860522"/>
            <a:ext cx="3103365" cy="28140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26789" tIns="26789" rIns="26789" bIns="26789" numCol="1" anchor="ctr">
            <a:spAutoFit/>
          </a:bodyPr>
          <a:lstStyle>
            <a:lvl1pPr>
              <a:defRPr sz="2000"/>
            </a:lvl1pPr>
          </a:lstStyle>
          <a:p>
            <a:r>
              <a:rPr lang="pt-BR" sz="1477" dirty="0">
                <a:solidFill>
                  <a:srgbClr val="FF0000"/>
                </a:solidFill>
              </a:rPr>
              <a:t>       </a:t>
            </a:r>
            <a:r>
              <a:rPr sz="1477" dirty="0">
                <a:solidFill>
                  <a:srgbClr val="FF0000"/>
                </a:solidFill>
              </a:rPr>
              <a:t>RTE (Release Train Engineer)</a:t>
            </a:r>
          </a:p>
        </p:txBody>
      </p:sp>
      <p:sp>
        <p:nvSpPr>
          <p:cNvPr id="61" name="Facilitador dos processos">
            <a:extLst>
              <a:ext uri="{FF2B5EF4-FFF2-40B4-BE49-F238E27FC236}">
                <a16:creationId xmlns:a16="http://schemas.microsoft.com/office/drawing/2014/main" id="{00820316-A02D-4F59-AA9C-C8818E2EA177}"/>
              </a:ext>
            </a:extLst>
          </p:cNvPr>
          <p:cNvSpPr txBox="1"/>
          <p:nvPr/>
        </p:nvSpPr>
        <p:spPr>
          <a:xfrm>
            <a:off x="997734" y="3174451"/>
            <a:ext cx="2553962" cy="28140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26789" tIns="26789" rIns="26789" bIns="26789" numCol="1" anchor="ctr">
            <a:spAutoFit/>
          </a:bodyPr>
          <a:lstStyle>
            <a:lvl1pPr>
              <a:defRPr sz="1800" b="0"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r>
              <a:rPr lang="pt-BR" sz="1477" b="1" dirty="0"/>
              <a:t>Facilitação da construção</a:t>
            </a:r>
            <a:endParaRPr sz="1477" b="1" dirty="0"/>
          </a:p>
        </p:txBody>
      </p:sp>
      <p:pic>
        <p:nvPicPr>
          <p:cNvPr id="62" name="Imagem" descr="Imagem">
            <a:extLst>
              <a:ext uri="{FF2B5EF4-FFF2-40B4-BE49-F238E27FC236}">
                <a16:creationId xmlns:a16="http://schemas.microsoft.com/office/drawing/2014/main" id="{CC43B25B-0C0D-4E46-8ACA-2A352B8BB08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03352" y="1117989"/>
            <a:ext cx="1584626" cy="1584628"/>
          </a:xfrm>
          <a:prstGeom prst="rect">
            <a:avLst/>
          </a:prstGeom>
          <a:ln w="12700" cap="flat">
            <a:noFill/>
            <a:miter lim="400000"/>
          </a:ln>
          <a:effectLst/>
        </p:spPr>
      </p:pic>
      <p:grpSp>
        <p:nvGrpSpPr>
          <p:cNvPr id="63" name="Agrupar 62">
            <a:extLst>
              <a:ext uri="{FF2B5EF4-FFF2-40B4-BE49-F238E27FC236}">
                <a16:creationId xmlns:a16="http://schemas.microsoft.com/office/drawing/2014/main" id="{8B2FA909-EBA7-409C-8CDD-0BBC81E96484}"/>
              </a:ext>
            </a:extLst>
          </p:cNvPr>
          <p:cNvGrpSpPr/>
          <p:nvPr/>
        </p:nvGrpSpPr>
        <p:grpSpPr>
          <a:xfrm>
            <a:off x="1582538" y="3375845"/>
            <a:ext cx="6705783" cy="1753929"/>
            <a:chOff x="2298856" y="1900969"/>
            <a:chExt cx="12716540" cy="3326070"/>
          </a:xfrm>
        </p:grpSpPr>
        <p:grpSp>
          <p:nvGrpSpPr>
            <p:cNvPr id="65" name="Agrupar 64">
              <a:extLst>
                <a:ext uri="{FF2B5EF4-FFF2-40B4-BE49-F238E27FC236}">
                  <a16:creationId xmlns:a16="http://schemas.microsoft.com/office/drawing/2014/main" id="{B056CBD4-F9D6-48EB-99A0-913E7A2F3994}"/>
                </a:ext>
              </a:extLst>
            </p:cNvPr>
            <p:cNvGrpSpPr/>
            <p:nvPr/>
          </p:nvGrpSpPr>
          <p:grpSpPr>
            <a:xfrm>
              <a:off x="2298856" y="3922985"/>
              <a:ext cx="12716540" cy="1304054"/>
              <a:chOff x="128381" y="1934981"/>
              <a:chExt cx="12716540" cy="1304054"/>
            </a:xfrm>
          </p:grpSpPr>
          <p:pic>
            <p:nvPicPr>
              <p:cNvPr id="73" name="Imagem 72">
                <a:extLst>
                  <a:ext uri="{FF2B5EF4-FFF2-40B4-BE49-F238E27FC236}">
                    <a16:creationId xmlns:a16="http://schemas.microsoft.com/office/drawing/2014/main" id="{1FB7EE0E-2C30-4A94-B409-A73251BFB59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 cstate="email">
                <a:duotone>
                  <a:schemeClr val="bg2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8245160" y="2609190"/>
                <a:ext cx="570670" cy="570670"/>
              </a:xfrm>
              <a:prstGeom prst="rect">
                <a:avLst/>
              </a:prstGeom>
            </p:spPr>
          </p:pic>
          <p:sp>
            <p:nvSpPr>
              <p:cNvPr id="74" name="Retângulo 73">
                <a:extLst>
                  <a:ext uri="{FF2B5EF4-FFF2-40B4-BE49-F238E27FC236}">
                    <a16:creationId xmlns:a16="http://schemas.microsoft.com/office/drawing/2014/main" id="{1132C0FD-37A6-438E-9EAC-5219E191D525}"/>
                  </a:ext>
                </a:extLst>
              </p:cNvPr>
              <p:cNvSpPr/>
              <p:nvPr/>
            </p:nvSpPr>
            <p:spPr>
              <a:xfrm>
                <a:off x="934579" y="1943965"/>
                <a:ext cx="11141527" cy="715396"/>
              </a:xfrm>
              <a:prstGeom prst="rect">
                <a:avLst/>
              </a:prstGeom>
              <a:solidFill>
                <a:schemeClr val="bg2">
                  <a:lumMod val="75000"/>
                </a:schemeClr>
              </a:solidFill>
              <a:ln w="12700" cap="flat">
                <a:noFill/>
                <a:miter lim="4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26789" tIns="26789" rIns="26789" bIns="26789" numCol="1" spcCol="38100" rtlCol="0" anchor="ctr">
                <a:noAutofit/>
              </a:bodyPr>
              <a:lstStyle/>
              <a:p>
                <a:endParaRPr lang="pt-BR" sz="1160" dirty="0">
                  <a:solidFill>
                    <a:srgbClr val="FFFFFF"/>
                  </a:solidFill>
                  <a:sym typeface="Helvetica Neue Medium"/>
                </a:endParaRPr>
              </a:p>
            </p:txBody>
          </p:sp>
          <p:sp>
            <p:nvSpPr>
              <p:cNvPr id="76" name="CaixaDeTexto 75">
                <a:extLst>
                  <a:ext uri="{FF2B5EF4-FFF2-40B4-BE49-F238E27FC236}">
                    <a16:creationId xmlns:a16="http://schemas.microsoft.com/office/drawing/2014/main" id="{FB557A56-7FD4-4F64-BC75-DF27070CA4DD}"/>
                  </a:ext>
                </a:extLst>
              </p:cNvPr>
              <p:cNvSpPr txBox="1"/>
              <p:nvPr/>
            </p:nvSpPr>
            <p:spPr>
              <a:xfrm flipH="1">
                <a:off x="1024651" y="2138200"/>
                <a:ext cx="1290327" cy="317939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26789" tIns="26789" rIns="26789" bIns="26789" numCol="1" spcCol="38100" rtlCol="0" anchor="ctr">
                <a:spAutoFit/>
              </a:bodyPr>
              <a:lstStyle/>
              <a:p>
                <a:r>
                  <a:rPr lang="pt-BR" sz="738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Oportunidade</a:t>
                </a:r>
              </a:p>
            </p:txBody>
          </p:sp>
          <p:pic>
            <p:nvPicPr>
              <p:cNvPr id="77" name="Imagem 76">
                <a:extLst>
                  <a:ext uri="{FF2B5EF4-FFF2-40B4-BE49-F238E27FC236}">
                    <a16:creationId xmlns:a16="http://schemas.microsoft.com/office/drawing/2014/main" id="{53E32274-E682-44A4-9C98-88B6A939033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 cstate="email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982967" y="2705338"/>
                <a:ext cx="497756" cy="497756"/>
              </a:xfrm>
              <a:prstGeom prst="rect">
                <a:avLst/>
              </a:prstGeom>
            </p:spPr>
          </p:pic>
          <p:sp>
            <p:nvSpPr>
              <p:cNvPr id="78" name="CaixaDeTexto 77">
                <a:extLst>
                  <a:ext uri="{FF2B5EF4-FFF2-40B4-BE49-F238E27FC236}">
                    <a16:creationId xmlns:a16="http://schemas.microsoft.com/office/drawing/2014/main" id="{3E673388-5C71-4212-B90D-8A80A9D1CB2A}"/>
                  </a:ext>
                </a:extLst>
              </p:cNvPr>
              <p:cNvSpPr txBox="1"/>
              <p:nvPr/>
            </p:nvSpPr>
            <p:spPr>
              <a:xfrm flipH="1">
                <a:off x="1631155" y="2679066"/>
                <a:ext cx="584564" cy="264316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26789" tIns="26789" rIns="26789" bIns="26789" numCol="1" spcCol="38100" rtlCol="0" anchor="ctr">
                <a:spAutoFit/>
              </a:bodyPr>
              <a:lstStyle/>
              <a:p>
                <a:r>
                  <a:rPr lang="pt-BR" sz="554" dirty="0">
                    <a:solidFill>
                      <a:schemeClr val="bg2">
                        <a:lumMod val="50000"/>
                      </a:schemeClr>
                    </a:solidFill>
                  </a:rPr>
                  <a:t>BMC</a:t>
                </a:r>
              </a:p>
            </p:txBody>
          </p:sp>
          <p:sp>
            <p:nvSpPr>
              <p:cNvPr id="118" name="Retângulo 117">
                <a:extLst>
                  <a:ext uri="{FF2B5EF4-FFF2-40B4-BE49-F238E27FC236}">
                    <a16:creationId xmlns:a16="http://schemas.microsoft.com/office/drawing/2014/main" id="{F1844712-18C1-4C9D-9D0B-5C52AD7B4C30}"/>
                  </a:ext>
                </a:extLst>
              </p:cNvPr>
              <p:cNvSpPr/>
              <p:nvPr/>
            </p:nvSpPr>
            <p:spPr>
              <a:xfrm>
                <a:off x="2499786" y="1943965"/>
                <a:ext cx="1415136" cy="715396"/>
              </a:xfrm>
              <a:prstGeom prst="rect">
                <a:avLst/>
              </a:prstGeom>
              <a:solidFill>
                <a:schemeClr val="tx1">
                  <a:lumMod val="75000"/>
                  <a:lumOff val="25000"/>
                </a:schemeClr>
              </a:solidFill>
              <a:ln w="12700" cap="flat">
                <a:noFill/>
                <a:miter lim="4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26789" tIns="26789" rIns="26789" bIns="26789" numCol="1" spcCol="38100" rtlCol="0" anchor="ctr">
                <a:noAutofit/>
              </a:bodyPr>
              <a:lstStyle/>
              <a:p>
                <a:r>
                  <a:rPr lang="pt-BR" sz="554" dirty="0">
                    <a:solidFill>
                      <a:schemeClr val="tx2">
                        <a:lumMod val="20000"/>
                        <a:lumOff val="80000"/>
                      </a:schemeClr>
                    </a:solidFill>
                    <a:sym typeface="Helvetica Neue Medium"/>
                  </a:rPr>
                  <a:t>Aprovação e Priorização</a:t>
                </a:r>
              </a:p>
            </p:txBody>
          </p:sp>
          <p:sp>
            <p:nvSpPr>
              <p:cNvPr id="119" name="CaixaDeTexto 118">
                <a:extLst>
                  <a:ext uri="{FF2B5EF4-FFF2-40B4-BE49-F238E27FC236}">
                    <a16:creationId xmlns:a16="http://schemas.microsoft.com/office/drawing/2014/main" id="{13A97A86-3B91-4451-8026-F78BCED32CA8}"/>
                  </a:ext>
                </a:extLst>
              </p:cNvPr>
              <p:cNvSpPr txBox="1"/>
              <p:nvPr/>
            </p:nvSpPr>
            <p:spPr>
              <a:xfrm>
                <a:off x="1357886" y="2824130"/>
                <a:ext cx="1132776" cy="379830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26789" tIns="26789" rIns="26789" bIns="26789" numCol="1" spcCol="38100" rtlCol="0" anchor="ctr">
                <a:spAutoFit/>
              </a:bodyPr>
              <a:lstStyle/>
              <a:p>
                <a:r>
                  <a:rPr lang="pt-BR" sz="475" dirty="0">
                    <a:solidFill>
                      <a:schemeClr val="tx1">
                        <a:lumMod val="65000"/>
                        <a:lumOff val="35000"/>
                      </a:schemeClr>
                    </a:solidFill>
                  </a:rPr>
                  <a:t>Business </a:t>
                </a:r>
                <a:r>
                  <a:rPr lang="pt-BR" sz="475" dirty="0" err="1">
                    <a:solidFill>
                      <a:schemeClr val="tx1">
                        <a:lumMod val="65000"/>
                        <a:lumOff val="35000"/>
                      </a:schemeClr>
                    </a:solidFill>
                  </a:rPr>
                  <a:t>Model</a:t>
                </a:r>
                <a:r>
                  <a:rPr lang="pt-BR" sz="475" dirty="0">
                    <a:solidFill>
                      <a:schemeClr val="tx1">
                        <a:lumMod val="65000"/>
                        <a:lumOff val="35000"/>
                      </a:schemeClr>
                    </a:solidFill>
                  </a:rPr>
                  <a:t>  </a:t>
                </a:r>
                <a:r>
                  <a:rPr lang="pt-BR" sz="475" dirty="0" err="1">
                    <a:solidFill>
                      <a:schemeClr val="tx1">
                        <a:lumMod val="65000"/>
                        <a:lumOff val="35000"/>
                      </a:schemeClr>
                    </a:solidFill>
                  </a:rPr>
                  <a:t>Canvas</a:t>
                </a:r>
                <a:endParaRPr lang="pt-BR" sz="475" dirty="0">
                  <a:solidFill>
                    <a:schemeClr val="tx1">
                      <a:lumMod val="65000"/>
                      <a:lumOff val="35000"/>
                    </a:schemeClr>
                  </a:solidFill>
                </a:endParaRPr>
              </a:p>
            </p:txBody>
          </p:sp>
          <p:sp>
            <p:nvSpPr>
              <p:cNvPr id="120" name="CaixaDeTexto 119">
                <a:extLst>
                  <a:ext uri="{FF2B5EF4-FFF2-40B4-BE49-F238E27FC236}">
                    <a16:creationId xmlns:a16="http://schemas.microsoft.com/office/drawing/2014/main" id="{04C6C694-6E3B-49F9-AD53-616E5DFA71F4}"/>
                  </a:ext>
                </a:extLst>
              </p:cNvPr>
              <p:cNvSpPr txBox="1"/>
              <p:nvPr/>
            </p:nvSpPr>
            <p:spPr>
              <a:xfrm flipH="1">
                <a:off x="3893754" y="2142692"/>
                <a:ext cx="1290327" cy="317939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26789" tIns="26789" rIns="26789" bIns="26789" numCol="1" spcCol="38100" rtlCol="0" anchor="ctr">
                <a:spAutoFit/>
              </a:bodyPr>
              <a:lstStyle/>
              <a:p>
                <a:r>
                  <a:rPr lang="pt-BR" sz="738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Refinamento</a:t>
                </a:r>
              </a:p>
            </p:txBody>
          </p:sp>
          <p:pic>
            <p:nvPicPr>
              <p:cNvPr id="121" name="Imagem 120">
                <a:extLst>
                  <a:ext uri="{FF2B5EF4-FFF2-40B4-BE49-F238E27FC236}">
                    <a16:creationId xmlns:a16="http://schemas.microsoft.com/office/drawing/2014/main" id="{D593300F-A842-42E2-8E24-EE90CF985AC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 cstate="email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963020" y="2692922"/>
                <a:ext cx="497756" cy="497756"/>
              </a:xfrm>
              <a:prstGeom prst="rect">
                <a:avLst/>
              </a:prstGeom>
            </p:spPr>
          </p:pic>
          <p:sp>
            <p:nvSpPr>
              <p:cNvPr id="122" name="CaixaDeTexto 121">
                <a:extLst>
                  <a:ext uri="{FF2B5EF4-FFF2-40B4-BE49-F238E27FC236}">
                    <a16:creationId xmlns:a16="http://schemas.microsoft.com/office/drawing/2014/main" id="{90D46018-D543-4AF2-AA27-53D6C4D0E06A}"/>
                  </a:ext>
                </a:extLst>
              </p:cNvPr>
              <p:cNvSpPr txBox="1"/>
              <p:nvPr/>
            </p:nvSpPr>
            <p:spPr>
              <a:xfrm flipH="1">
                <a:off x="4551066" y="2719611"/>
                <a:ext cx="584564" cy="264316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26789" tIns="26789" rIns="26789" bIns="26789" numCol="1" spcCol="38100" rtlCol="0" anchor="ctr">
                <a:spAutoFit/>
              </a:bodyPr>
              <a:lstStyle/>
              <a:p>
                <a:r>
                  <a:rPr lang="pt-BR" sz="554" dirty="0">
                    <a:solidFill>
                      <a:schemeClr val="bg2">
                        <a:lumMod val="50000"/>
                      </a:schemeClr>
                    </a:solidFill>
                  </a:rPr>
                  <a:t>BMC 2</a:t>
                </a:r>
              </a:p>
            </p:txBody>
          </p:sp>
          <p:sp>
            <p:nvSpPr>
              <p:cNvPr id="123" name="CaixaDeTexto 122">
                <a:extLst>
                  <a:ext uri="{FF2B5EF4-FFF2-40B4-BE49-F238E27FC236}">
                    <a16:creationId xmlns:a16="http://schemas.microsoft.com/office/drawing/2014/main" id="{B79EE320-8F5E-41F3-926D-AFB6CA282A93}"/>
                  </a:ext>
                </a:extLst>
              </p:cNvPr>
              <p:cNvSpPr txBox="1"/>
              <p:nvPr/>
            </p:nvSpPr>
            <p:spPr>
              <a:xfrm>
                <a:off x="4405458" y="2928410"/>
                <a:ext cx="771365" cy="241212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none" lIns="26789" tIns="26789" rIns="26789" bIns="26789" numCol="1" spcCol="38100" rtlCol="0" anchor="ctr">
                <a:spAutoFit/>
              </a:bodyPr>
              <a:lstStyle/>
              <a:p>
                <a:r>
                  <a:rPr lang="pt-BR" sz="475" dirty="0">
                    <a:solidFill>
                      <a:schemeClr val="tx1">
                        <a:lumMod val="65000"/>
                        <a:lumOff val="35000"/>
                      </a:schemeClr>
                    </a:solidFill>
                  </a:rPr>
                  <a:t>Complemento</a:t>
                </a:r>
              </a:p>
            </p:txBody>
          </p:sp>
          <p:sp>
            <p:nvSpPr>
              <p:cNvPr id="124" name="Retângulo 123">
                <a:extLst>
                  <a:ext uri="{FF2B5EF4-FFF2-40B4-BE49-F238E27FC236}">
                    <a16:creationId xmlns:a16="http://schemas.microsoft.com/office/drawing/2014/main" id="{0243241A-A2AD-4FBD-B078-A77D2DD647C8}"/>
                  </a:ext>
                </a:extLst>
              </p:cNvPr>
              <p:cNvSpPr/>
              <p:nvPr/>
            </p:nvSpPr>
            <p:spPr>
              <a:xfrm>
                <a:off x="128381" y="1943966"/>
                <a:ext cx="752070" cy="715396"/>
              </a:xfrm>
              <a:prstGeom prst="rect">
                <a:avLst/>
              </a:prstGeom>
              <a:solidFill>
                <a:srgbClr val="C00000"/>
              </a:solidFill>
              <a:ln w="12700" cap="flat">
                <a:noFill/>
                <a:miter lim="4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26789" tIns="26789" rIns="26789" bIns="26789" numCol="1" spcCol="38100" rtlCol="0" anchor="ctr">
                <a:noAutofit/>
              </a:bodyPr>
              <a:lstStyle/>
              <a:p>
                <a:r>
                  <a:rPr lang="pt-BR" sz="580" dirty="0">
                    <a:solidFill>
                      <a:srgbClr val="FFFFFF"/>
                    </a:solidFill>
                    <a:sym typeface="Helvetica Neue Medium"/>
                  </a:rPr>
                  <a:t>Fluxo Produtivo</a:t>
                </a:r>
              </a:p>
            </p:txBody>
          </p:sp>
          <p:sp>
            <p:nvSpPr>
              <p:cNvPr id="125" name="Retângulo 124">
                <a:extLst>
                  <a:ext uri="{FF2B5EF4-FFF2-40B4-BE49-F238E27FC236}">
                    <a16:creationId xmlns:a16="http://schemas.microsoft.com/office/drawing/2014/main" id="{F940C4C0-609D-4B0B-BBC2-45C549ABD74A}"/>
                  </a:ext>
                </a:extLst>
              </p:cNvPr>
              <p:cNvSpPr/>
              <p:nvPr/>
            </p:nvSpPr>
            <p:spPr>
              <a:xfrm>
                <a:off x="5263607" y="1943965"/>
                <a:ext cx="1415136" cy="715396"/>
              </a:xfrm>
              <a:prstGeom prst="rect">
                <a:avLst/>
              </a:prstGeom>
              <a:solidFill>
                <a:schemeClr val="tx1">
                  <a:lumMod val="75000"/>
                  <a:lumOff val="25000"/>
                </a:schemeClr>
              </a:solidFill>
              <a:ln w="12700" cap="flat">
                <a:noFill/>
                <a:miter lim="4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26789" tIns="26789" rIns="26789" bIns="26789" numCol="1" spcCol="38100" rtlCol="0" anchor="ctr">
                <a:noAutofit/>
              </a:bodyPr>
              <a:lstStyle/>
              <a:p>
                <a:r>
                  <a:rPr lang="pt-BR" sz="554" dirty="0">
                    <a:solidFill>
                      <a:schemeClr val="tx2">
                        <a:lumMod val="20000"/>
                        <a:lumOff val="80000"/>
                      </a:schemeClr>
                    </a:solidFill>
                    <a:sym typeface="Helvetica Neue Medium"/>
                  </a:rPr>
                  <a:t>Aprovação e Priorização Corporativa</a:t>
                </a:r>
              </a:p>
            </p:txBody>
          </p:sp>
          <p:pic>
            <p:nvPicPr>
              <p:cNvPr id="126" name="Imagem 125">
                <a:extLst>
                  <a:ext uri="{FF2B5EF4-FFF2-40B4-BE49-F238E27FC236}">
                    <a16:creationId xmlns:a16="http://schemas.microsoft.com/office/drawing/2014/main" id="{96E60099-7C0F-43CC-ADD5-A2FD3ED47C8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 cstate="email">
                <a:duotone>
                  <a:schemeClr val="bg2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2557187" y="2671717"/>
                <a:ext cx="530286" cy="530286"/>
              </a:xfrm>
              <a:prstGeom prst="rect">
                <a:avLst/>
              </a:prstGeom>
            </p:spPr>
          </p:pic>
          <p:sp>
            <p:nvSpPr>
              <p:cNvPr id="127" name="CaixaDeTexto 126">
                <a:extLst>
                  <a:ext uri="{FF2B5EF4-FFF2-40B4-BE49-F238E27FC236}">
                    <a16:creationId xmlns:a16="http://schemas.microsoft.com/office/drawing/2014/main" id="{52EDCBAD-9586-4818-B439-EF4268D6AB92}"/>
                  </a:ext>
                </a:extLst>
              </p:cNvPr>
              <p:cNvSpPr txBox="1"/>
              <p:nvPr/>
            </p:nvSpPr>
            <p:spPr>
              <a:xfrm>
                <a:off x="3023938" y="2662398"/>
                <a:ext cx="807843" cy="379830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none" lIns="26789" tIns="26789" rIns="26789" bIns="26789" numCol="1" spcCol="38100" rtlCol="0" anchor="t">
                <a:spAutoFit/>
              </a:bodyPr>
              <a:lstStyle/>
              <a:p>
                <a:r>
                  <a:rPr lang="pt-BR" sz="475" dirty="0">
                    <a:solidFill>
                      <a:schemeClr val="tx1">
                        <a:lumMod val="65000"/>
                        <a:lumOff val="35000"/>
                      </a:schemeClr>
                    </a:solidFill>
                  </a:rPr>
                  <a:t>Backlog de </a:t>
                </a:r>
              </a:p>
              <a:p>
                <a:r>
                  <a:rPr lang="pt-BR" sz="475" dirty="0">
                    <a:solidFill>
                      <a:schemeClr val="tx1">
                        <a:lumMod val="65000"/>
                        <a:lumOff val="35000"/>
                      </a:schemeClr>
                    </a:solidFill>
                  </a:rPr>
                  <a:t>Oportunidades</a:t>
                </a:r>
              </a:p>
            </p:txBody>
          </p:sp>
          <p:sp>
            <p:nvSpPr>
              <p:cNvPr id="128" name="Retângulo 127">
                <a:extLst>
                  <a:ext uri="{FF2B5EF4-FFF2-40B4-BE49-F238E27FC236}">
                    <a16:creationId xmlns:a16="http://schemas.microsoft.com/office/drawing/2014/main" id="{6451CF85-22BC-4ABC-818F-88777713D851}"/>
                  </a:ext>
                </a:extLst>
              </p:cNvPr>
              <p:cNvSpPr/>
              <p:nvPr/>
            </p:nvSpPr>
            <p:spPr>
              <a:xfrm>
                <a:off x="128978" y="2705338"/>
                <a:ext cx="750798" cy="496665"/>
              </a:xfrm>
              <a:prstGeom prst="rect">
                <a:avLst/>
              </a:prstGeom>
              <a:solidFill>
                <a:schemeClr val="bg2">
                  <a:alpha val="71000"/>
                </a:schemeClr>
              </a:solidFill>
              <a:ln w="12700" cap="flat">
                <a:noFill/>
                <a:miter lim="4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26789" tIns="26789" rIns="26789" bIns="26789" numCol="1" spcCol="38100" rtlCol="0" anchor="ctr">
                <a:noAutofit/>
              </a:bodyPr>
              <a:lstStyle/>
              <a:p>
                <a:r>
                  <a:rPr lang="pt-BR" sz="475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sym typeface="Helvetica Neue Medium"/>
                  </a:rPr>
                  <a:t>Artefato</a:t>
                </a:r>
              </a:p>
            </p:txBody>
          </p:sp>
          <p:pic>
            <p:nvPicPr>
              <p:cNvPr id="129" name="Picture 4" descr="Resultado de imagem para backlog png">
                <a:extLst>
                  <a:ext uri="{FF2B5EF4-FFF2-40B4-BE49-F238E27FC236}">
                    <a16:creationId xmlns:a16="http://schemas.microsoft.com/office/drawing/2014/main" id="{B412BD4B-5ABD-4539-B0CE-3CFEE0F525CE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7" cstate="email">
                <a:grayscl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359424" y="2679027"/>
                <a:ext cx="503680" cy="50368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130" name="CaixaDeTexto 129">
                <a:extLst>
                  <a:ext uri="{FF2B5EF4-FFF2-40B4-BE49-F238E27FC236}">
                    <a16:creationId xmlns:a16="http://schemas.microsoft.com/office/drawing/2014/main" id="{470848B6-3ADC-46EB-B316-7E56BC834ED3}"/>
                  </a:ext>
                </a:extLst>
              </p:cNvPr>
              <p:cNvSpPr txBox="1"/>
              <p:nvPr/>
            </p:nvSpPr>
            <p:spPr>
              <a:xfrm>
                <a:off x="5873593" y="2646637"/>
                <a:ext cx="719687" cy="410229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none" lIns="26789" tIns="26789" rIns="26789" bIns="26789" numCol="1" spcCol="38100" rtlCol="0" anchor="ctr">
                <a:spAutoFit/>
              </a:bodyPr>
              <a:lstStyle/>
              <a:p>
                <a:r>
                  <a:rPr lang="pt-BR" sz="527" dirty="0">
                    <a:solidFill>
                      <a:schemeClr val="tx1">
                        <a:lumMod val="65000"/>
                        <a:lumOff val="35000"/>
                      </a:schemeClr>
                    </a:solidFill>
                  </a:rPr>
                  <a:t>Backlog</a:t>
                </a:r>
              </a:p>
              <a:p>
                <a:r>
                  <a:rPr lang="pt-BR" sz="527" dirty="0">
                    <a:solidFill>
                      <a:schemeClr val="tx1">
                        <a:lumMod val="65000"/>
                        <a:lumOff val="35000"/>
                      </a:schemeClr>
                    </a:solidFill>
                  </a:rPr>
                  <a:t>Corporativo</a:t>
                </a:r>
              </a:p>
            </p:txBody>
          </p:sp>
          <p:sp>
            <p:nvSpPr>
              <p:cNvPr id="131" name="CaixaDeTexto 130">
                <a:extLst>
                  <a:ext uri="{FF2B5EF4-FFF2-40B4-BE49-F238E27FC236}">
                    <a16:creationId xmlns:a16="http://schemas.microsoft.com/office/drawing/2014/main" id="{C8D287AE-1C2C-4DD2-989B-2D0AB93B1637}"/>
                  </a:ext>
                </a:extLst>
              </p:cNvPr>
              <p:cNvSpPr txBox="1"/>
              <p:nvPr/>
            </p:nvSpPr>
            <p:spPr>
              <a:xfrm flipH="1">
                <a:off x="6806518" y="2035021"/>
                <a:ext cx="1290327" cy="533283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26789" tIns="26789" rIns="26789" bIns="26789" numCol="1" spcCol="38100" rtlCol="0" anchor="ctr">
                <a:spAutoFit/>
              </a:bodyPr>
              <a:lstStyle/>
              <a:p>
                <a:r>
                  <a:rPr lang="pt-BR" sz="738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Estratégia de Entrega</a:t>
                </a:r>
              </a:p>
            </p:txBody>
          </p:sp>
          <p:pic>
            <p:nvPicPr>
              <p:cNvPr id="132" name="Imagem 131">
                <a:extLst>
                  <a:ext uri="{FF2B5EF4-FFF2-40B4-BE49-F238E27FC236}">
                    <a16:creationId xmlns:a16="http://schemas.microsoft.com/office/drawing/2014/main" id="{7B972B85-6D62-424A-B07C-56D23A07FA9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 cstate="email">
                <a:duotone>
                  <a:schemeClr val="bg2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768863" y="2696384"/>
                <a:ext cx="444593" cy="444593"/>
              </a:xfrm>
              <a:prstGeom prst="rect">
                <a:avLst/>
              </a:prstGeom>
            </p:spPr>
          </p:pic>
          <p:sp>
            <p:nvSpPr>
              <p:cNvPr id="133" name="CaixaDeTexto 132">
                <a:extLst>
                  <a:ext uri="{FF2B5EF4-FFF2-40B4-BE49-F238E27FC236}">
                    <a16:creationId xmlns:a16="http://schemas.microsoft.com/office/drawing/2014/main" id="{FC434A95-73D0-4FAD-9E4D-87F59ADB2A87}"/>
                  </a:ext>
                </a:extLst>
              </p:cNvPr>
              <p:cNvSpPr txBox="1"/>
              <p:nvPr/>
            </p:nvSpPr>
            <p:spPr>
              <a:xfrm>
                <a:off x="7370795" y="2623283"/>
                <a:ext cx="598093" cy="564167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none" lIns="26789" tIns="26789" rIns="26789" bIns="26789" numCol="1" spcCol="38100" rtlCol="0" anchor="t">
                <a:spAutoFit/>
              </a:bodyPr>
              <a:lstStyle/>
              <a:p>
                <a:pPr>
                  <a:lnSpc>
                    <a:spcPct val="150000"/>
                  </a:lnSpc>
                </a:pPr>
                <a:r>
                  <a:rPr lang="pt-BR" sz="527" dirty="0" err="1">
                    <a:solidFill>
                      <a:schemeClr val="tx1">
                        <a:lumMod val="65000"/>
                        <a:lumOff val="35000"/>
                      </a:schemeClr>
                    </a:solidFill>
                  </a:rPr>
                  <a:t>Roadmap</a:t>
                </a:r>
                <a:endParaRPr lang="pt-BR" sz="527" dirty="0">
                  <a:solidFill>
                    <a:schemeClr val="tx1">
                      <a:lumMod val="65000"/>
                      <a:lumOff val="35000"/>
                    </a:schemeClr>
                  </a:solidFill>
                </a:endParaRPr>
              </a:p>
              <a:p>
                <a:pPr>
                  <a:lnSpc>
                    <a:spcPct val="150000"/>
                  </a:lnSpc>
                </a:pPr>
                <a:r>
                  <a:rPr lang="pt-BR" sz="527" dirty="0">
                    <a:solidFill>
                      <a:schemeClr val="tx1">
                        <a:lumMod val="65000"/>
                        <a:lumOff val="35000"/>
                      </a:schemeClr>
                    </a:solidFill>
                  </a:rPr>
                  <a:t>Épicos</a:t>
                </a:r>
              </a:p>
            </p:txBody>
          </p:sp>
          <p:sp>
            <p:nvSpPr>
              <p:cNvPr id="134" name="Retângulo 133">
                <a:extLst>
                  <a:ext uri="{FF2B5EF4-FFF2-40B4-BE49-F238E27FC236}">
                    <a16:creationId xmlns:a16="http://schemas.microsoft.com/office/drawing/2014/main" id="{68C14446-7D71-4968-B057-5064BADF4FA1}"/>
                  </a:ext>
                </a:extLst>
              </p:cNvPr>
              <p:cNvSpPr/>
              <p:nvPr/>
            </p:nvSpPr>
            <p:spPr>
              <a:xfrm>
                <a:off x="8254090" y="1939473"/>
                <a:ext cx="1185715" cy="715396"/>
              </a:xfrm>
              <a:prstGeom prst="rect">
                <a:avLst/>
              </a:prstGeom>
              <a:solidFill>
                <a:schemeClr val="tx1">
                  <a:lumMod val="75000"/>
                  <a:lumOff val="25000"/>
                </a:schemeClr>
              </a:solidFill>
              <a:ln w="12700" cap="flat">
                <a:noFill/>
                <a:miter lim="4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26789" tIns="26789" rIns="26789" bIns="26789" numCol="1" spcCol="38100" rtlCol="0" anchor="ctr">
                <a:noAutofit/>
              </a:bodyPr>
              <a:lstStyle/>
              <a:p>
                <a:r>
                  <a:rPr lang="pt-BR" sz="554" dirty="0">
                    <a:solidFill>
                      <a:schemeClr val="tx2">
                        <a:lumMod val="20000"/>
                        <a:lumOff val="80000"/>
                      </a:schemeClr>
                    </a:solidFill>
                    <a:sym typeface="Helvetica Neue Medium"/>
                  </a:rPr>
                  <a:t>Épicos </a:t>
                </a:r>
              </a:p>
              <a:p>
                <a:r>
                  <a:rPr lang="pt-BR" sz="554" dirty="0">
                    <a:solidFill>
                      <a:schemeClr val="tx2">
                        <a:lumMod val="20000"/>
                        <a:lumOff val="80000"/>
                      </a:schemeClr>
                    </a:solidFill>
                    <a:sym typeface="Helvetica Neue Medium"/>
                  </a:rPr>
                  <a:t>Priorizados</a:t>
                </a:r>
              </a:p>
            </p:txBody>
          </p:sp>
          <p:sp>
            <p:nvSpPr>
              <p:cNvPr id="135" name="CaixaDeTexto 134">
                <a:extLst>
                  <a:ext uri="{FF2B5EF4-FFF2-40B4-BE49-F238E27FC236}">
                    <a16:creationId xmlns:a16="http://schemas.microsoft.com/office/drawing/2014/main" id="{FE66D1EC-BE00-4935-8BFE-C1F9D31B8236}"/>
                  </a:ext>
                </a:extLst>
              </p:cNvPr>
              <p:cNvSpPr txBox="1"/>
              <p:nvPr/>
            </p:nvSpPr>
            <p:spPr>
              <a:xfrm>
                <a:off x="8744375" y="2712420"/>
                <a:ext cx="570670" cy="410229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26789" tIns="26789" rIns="26789" bIns="26789" numCol="1" spcCol="38100" rtlCol="0" anchor="t">
                <a:spAutoFit/>
              </a:bodyPr>
              <a:lstStyle/>
              <a:p>
                <a:r>
                  <a:rPr lang="pt-BR" sz="527" dirty="0">
                    <a:solidFill>
                      <a:schemeClr val="tx1">
                        <a:lumMod val="65000"/>
                        <a:lumOff val="35000"/>
                      </a:schemeClr>
                    </a:solidFill>
                  </a:rPr>
                  <a:t>Backlog</a:t>
                </a:r>
              </a:p>
              <a:p>
                <a:r>
                  <a:rPr lang="pt-BR" sz="527" dirty="0">
                    <a:solidFill>
                      <a:schemeClr val="tx1">
                        <a:lumMod val="65000"/>
                        <a:lumOff val="35000"/>
                      </a:schemeClr>
                    </a:solidFill>
                  </a:rPr>
                  <a:t>Épicos</a:t>
                </a:r>
              </a:p>
            </p:txBody>
          </p:sp>
          <p:sp>
            <p:nvSpPr>
              <p:cNvPr id="136" name="CaixaDeTexto 135">
                <a:extLst>
                  <a:ext uri="{FF2B5EF4-FFF2-40B4-BE49-F238E27FC236}">
                    <a16:creationId xmlns:a16="http://schemas.microsoft.com/office/drawing/2014/main" id="{BE18F5FB-CF45-4EAD-954B-14C01D4D1C79}"/>
                  </a:ext>
                </a:extLst>
              </p:cNvPr>
              <p:cNvSpPr txBox="1"/>
              <p:nvPr/>
            </p:nvSpPr>
            <p:spPr>
              <a:xfrm flipH="1">
                <a:off x="9499807" y="2138200"/>
                <a:ext cx="1307360" cy="317939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26789" tIns="26789" rIns="26789" bIns="26789" numCol="1" spcCol="38100" rtlCol="0" anchor="ctr">
                <a:spAutoFit/>
              </a:bodyPr>
              <a:lstStyle/>
              <a:p>
                <a:r>
                  <a:rPr lang="pt-BR" sz="738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Construir</a:t>
                </a:r>
              </a:p>
            </p:txBody>
          </p:sp>
          <p:pic>
            <p:nvPicPr>
              <p:cNvPr id="137" name="Imagem 136">
                <a:extLst>
                  <a:ext uri="{FF2B5EF4-FFF2-40B4-BE49-F238E27FC236}">
                    <a16:creationId xmlns:a16="http://schemas.microsoft.com/office/drawing/2014/main" id="{3AC3CE8E-12FC-4739-8E92-547D0696FAC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 cstate="email">
                <a:duotone>
                  <a:schemeClr val="bg2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9544337" y="2698491"/>
                <a:ext cx="446781" cy="446781"/>
              </a:xfrm>
              <a:prstGeom prst="rect">
                <a:avLst/>
              </a:prstGeom>
            </p:spPr>
          </p:pic>
          <p:sp>
            <p:nvSpPr>
              <p:cNvPr id="138" name="CaixaDeTexto 137">
                <a:extLst>
                  <a:ext uri="{FF2B5EF4-FFF2-40B4-BE49-F238E27FC236}">
                    <a16:creationId xmlns:a16="http://schemas.microsoft.com/office/drawing/2014/main" id="{8E42875A-F077-4A9D-957A-80F13F468059}"/>
                  </a:ext>
                </a:extLst>
              </p:cNvPr>
              <p:cNvSpPr txBox="1"/>
              <p:nvPr/>
            </p:nvSpPr>
            <p:spPr>
              <a:xfrm>
                <a:off x="9991118" y="2674777"/>
                <a:ext cx="776146" cy="564048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26789" tIns="26789" rIns="26789" bIns="26789" numCol="1" spcCol="38100" rtlCol="0" anchor="t">
                <a:spAutoFit/>
              </a:bodyPr>
              <a:lstStyle/>
              <a:p>
                <a:r>
                  <a:rPr lang="pt-BR" sz="527" dirty="0" err="1">
                    <a:solidFill>
                      <a:schemeClr val="tx1">
                        <a:lumMod val="65000"/>
                        <a:lumOff val="35000"/>
                      </a:schemeClr>
                    </a:solidFill>
                  </a:rPr>
                  <a:t>Agile</a:t>
                </a:r>
                <a:r>
                  <a:rPr lang="pt-BR" sz="527" dirty="0">
                    <a:solidFill>
                      <a:schemeClr val="tx1">
                        <a:lumMod val="65000"/>
                        <a:lumOff val="35000"/>
                      </a:schemeClr>
                    </a:solidFill>
                  </a:rPr>
                  <a:t> Release </a:t>
                </a:r>
                <a:r>
                  <a:rPr lang="pt-BR" sz="527" dirty="0" err="1">
                    <a:solidFill>
                      <a:schemeClr val="tx1">
                        <a:lumMod val="65000"/>
                        <a:lumOff val="35000"/>
                      </a:schemeClr>
                    </a:solidFill>
                  </a:rPr>
                  <a:t>Train</a:t>
                </a:r>
                <a:endParaRPr lang="pt-BR" sz="527" dirty="0">
                  <a:solidFill>
                    <a:schemeClr val="tx1">
                      <a:lumMod val="65000"/>
                      <a:lumOff val="35000"/>
                    </a:schemeClr>
                  </a:solidFill>
                </a:endParaRPr>
              </a:p>
            </p:txBody>
          </p:sp>
          <p:sp>
            <p:nvSpPr>
              <p:cNvPr id="139" name="CaixaDeTexto 138">
                <a:extLst>
                  <a:ext uri="{FF2B5EF4-FFF2-40B4-BE49-F238E27FC236}">
                    <a16:creationId xmlns:a16="http://schemas.microsoft.com/office/drawing/2014/main" id="{0EEB3AD8-5D9D-4EEB-9F63-2E8AB89C2C40}"/>
                  </a:ext>
                </a:extLst>
              </p:cNvPr>
              <p:cNvSpPr txBox="1"/>
              <p:nvPr/>
            </p:nvSpPr>
            <p:spPr>
              <a:xfrm flipH="1">
                <a:off x="10823912" y="2137953"/>
                <a:ext cx="1252193" cy="317939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26789" tIns="26789" rIns="26789" bIns="26789" numCol="1" spcCol="38100" rtlCol="0" anchor="ctr">
                <a:spAutoFit/>
              </a:bodyPr>
              <a:lstStyle/>
              <a:p>
                <a:r>
                  <a:rPr lang="pt-BR" sz="738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Medir</a:t>
                </a:r>
              </a:p>
            </p:txBody>
          </p:sp>
          <p:pic>
            <p:nvPicPr>
              <p:cNvPr id="140" name="Imagem 139">
                <a:extLst>
                  <a:ext uri="{FF2B5EF4-FFF2-40B4-BE49-F238E27FC236}">
                    <a16:creationId xmlns:a16="http://schemas.microsoft.com/office/drawing/2014/main" id="{6555B243-3C36-44B6-9C3D-9A9A34ECF42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 cstate="email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0877326" y="2705338"/>
                <a:ext cx="698108" cy="392686"/>
              </a:xfrm>
              <a:prstGeom prst="rect">
                <a:avLst/>
              </a:prstGeom>
            </p:spPr>
          </p:pic>
          <p:sp>
            <p:nvSpPr>
              <p:cNvPr id="141" name="CaixaDeTexto 140">
                <a:extLst>
                  <a:ext uri="{FF2B5EF4-FFF2-40B4-BE49-F238E27FC236}">
                    <a16:creationId xmlns:a16="http://schemas.microsoft.com/office/drawing/2014/main" id="{94F7FB91-6D25-4D7A-8214-B3CF5F987627}"/>
                  </a:ext>
                </a:extLst>
              </p:cNvPr>
              <p:cNvSpPr txBox="1"/>
              <p:nvPr/>
            </p:nvSpPr>
            <p:spPr>
              <a:xfrm flipH="1">
                <a:off x="11485696" y="2687431"/>
                <a:ext cx="584564" cy="426037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26789" tIns="26789" rIns="26789" bIns="26789" numCol="1" spcCol="38100" rtlCol="0" anchor="ctr">
                <a:spAutoFit/>
              </a:bodyPr>
              <a:lstStyle/>
              <a:p>
                <a:r>
                  <a:rPr lang="pt-BR" sz="554" dirty="0">
                    <a:solidFill>
                      <a:schemeClr val="bg2">
                        <a:lumMod val="50000"/>
                      </a:schemeClr>
                    </a:solidFill>
                  </a:rPr>
                  <a:t>P&amp;L</a:t>
                </a:r>
              </a:p>
              <a:p>
                <a:r>
                  <a:rPr lang="pt-BR" sz="554" dirty="0">
                    <a:solidFill>
                      <a:schemeClr val="bg2">
                        <a:lumMod val="50000"/>
                      </a:schemeClr>
                    </a:solidFill>
                  </a:rPr>
                  <a:t>BMC</a:t>
                </a:r>
              </a:p>
            </p:txBody>
          </p:sp>
          <p:sp>
            <p:nvSpPr>
              <p:cNvPr id="142" name="Retângulo 141">
                <a:extLst>
                  <a:ext uri="{FF2B5EF4-FFF2-40B4-BE49-F238E27FC236}">
                    <a16:creationId xmlns:a16="http://schemas.microsoft.com/office/drawing/2014/main" id="{2E0C9421-D7A3-47FA-B3F5-6E2A5303DB15}"/>
                  </a:ext>
                </a:extLst>
              </p:cNvPr>
              <p:cNvSpPr/>
              <p:nvPr/>
            </p:nvSpPr>
            <p:spPr>
              <a:xfrm>
                <a:off x="12092851" y="1944693"/>
                <a:ext cx="752070" cy="715396"/>
              </a:xfrm>
              <a:prstGeom prst="rect">
                <a:avLst/>
              </a:prstGeom>
              <a:solidFill>
                <a:schemeClr val="accent3">
                  <a:lumMod val="50000"/>
                </a:schemeClr>
              </a:solidFill>
              <a:ln w="12700" cap="flat">
                <a:noFill/>
                <a:miter lim="4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26789" tIns="26789" rIns="26789" bIns="26789" numCol="1" spcCol="38100" rtlCol="0" anchor="ctr">
                <a:noAutofit/>
              </a:bodyPr>
              <a:lstStyle/>
              <a:p>
                <a:r>
                  <a:rPr lang="pt-BR" sz="580" dirty="0">
                    <a:solidFill>
                      <a:srgbClr val="FFFFFF"/>
                    </a:solidFill>
                    <a:sym typeface="Helvetica Neue Medium"/>
                  </a:rPr>
                  <a:t>Encerrar</a:t>
                </a:r>
              </a:p>
            </p:txBody>
          </p:sp>
          <p:grpSp>
            <p:nvGrpSpPr>
              <p:cNvPr id="143" name="Agrupar 142">
                <a:extLst>
                  <a:ext uri="{FF2B5EF4-FFF2-40B4-BE49-F238E27FC236}">
                    <a16:creationId xmlns:a16="http://schemas.microsoft.com/office/drawing/2014/main" id="{78630000-555F-45F5-B431-D10249DA0DD8}"/>
                  </a:ext>
                </a:extLst>
              </p:cNvPr>
              <p:cNvGrpSpPr/>
              <p:nvPr/>
            </p:nvGrpSpPr>
            <p:grpSpPr>
              <a:xfrm>
                <a:off x="2486855" y="1934981"/>
                <a:ext cx="9595609" cy="1304054"/>
                <a:chOff x="2486855" y="1492563"/>
                <a:chExt cx="9595609" cy="6174137"/>
              </a:xfrm>
            </p:grpSpPr>
            <p:cxnSp>
              <p:nvCxnSpPr>
                <p:cNvPr id="144" name="Conector reto 143">
                  <a:extLst>
                    <a:ext uri="{FF2B5EF4-FFF2-40B4-BE49-F238E27FC236}">
                      <a16:creationId xmlns:a16="http://schemas.microsoft.com/office/drawing/2014/main" id="{FE3D9B40-CFCA-43B9-B508-FD38DBC6B846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2486855" y="1492565"/>
                  <a:ext cx="0" cy="6174135"/>
                </a:xfrm>
                <a:prstGeom prst="line">
                  <a:avLst/>
                </a:prstGeom>
                <a:noFill/>
                <a:ln w="25400" cap="flat">
                  <a:solidFill>
                    <a:schemeClr val="tx2">
                      <a:lumMod val="20000"/>
                      <a:lumOff val="80000"/>
                    </a:schemeClr>
                  </a:solidFill>
                  <a:prstDash val="solid"/>
                  <a:miter lim="400000"/>
                </a:ln>
                <a:effectLst/>
                <a:sp3d/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none"/>
              </p:style>
            </p:cxnSp>
            <p:cxnSp>
              <p:nvCxnSpPr>
                <p:cNvPr id="145" name="Conector reto 144">
                  <a:extLst>
                    <a:ext uri="{FF2B5EF4-FFF2-40B4-BE49-F238E27FC236}">
                      <a16:creationId xmlns:a16="http://schemas.microsoft.com/office/drawing/2014/main" id="{4CA222C8-364F-4F01-955B-E8FC13678ACC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3915939" y="1492564"/>
                  <a:ext cx="0" cy="6174135"/>
                </a:xfrm>
                <a:prstGeom prst="line">
                  <a:avLst/>
                </a:prstGeom>
                <a:noFill/>
                <a:ln w="25400" cap="flat">
                  <a:solidFill>
                    <a:schemeClr val="tx2">
                      <a:lumMod val="20000"/>
                      <a:lumOff val="80000"/>
                    </a:schemeClr>
                  </a:solidFill>
                  <a:prstDash val="solid"/>
                  <a:miter lim="400000"/>
                </a:ln>
                <a:effectLst/>
                <a:sp3d/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none"/>
              </p:style>
            </p:cxnSp>
            <p:cxnSp>
              <p:nvCxnSpPr>
                <p:cNvPr id="146" name="Conector reto 145">
                  <a:extLst>
                    <a:ext uri="{FF2B5EF4-FFF2-40B4-BE49-F238E27FC236}">
                      <a16:creationId xmlns:a16="http://schemas.microsoft.com/office/drawing/2014/main" id="{4EFF608A-C13D-426F-A366-5A072E175C92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5251317" y="1492564"/>
                  <a:ext cx="0" cy="6174135"/>
                </a:xfrm>
                <a:prstGeom prst="line">
                  <a:avLst/>
                </a:prstGeom>
                <a:noFill/>
                <a:ln w="25400" cap="flat">
                  <a:solidFill>
                    <a:schemeClr val="tx2">
                      <a:lumMod val="20000"/>
                      <a:lumOff val="80000"/>
                    </a:schemeClr>
                  </a:solidFill>
                  <a:prstDash val="solid"/>
                  <a:miter lim="400000"/>
                </a:ln>
                <a:effectLst/>
                <a:sp3d/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none"/>
              </p:style>
            </p:cxnSp>
            <p:cxnSp>
              <p:nvCxnSpPr>
                <p:cNvPr id="147" name="Conector reto 146">
                  <a:extLst>
                    <a:ext uri="{FF2B5EF4-FFF2-40B4-BE49-F238E27FC236}">
                      <a16:creationId xmlns:a16="http://schemas.microsoft.com/office/drawing/2014/main" id="{F36F14A2-7281-44E2-A66F-0F4C0513DD47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6667524" y="1492563"/>
                  <a:ext cx="0" cy="6174135"/>
                </a:xfrm>
                <a:prstGeom prst="line">
                  <a:avLst/>
                </a:prstGeom>
                <a:noFill/>
                <a:ln w="25400" cap="flat">
                  <a:solidFill>
                    <a:schemeClr val="tx2">
                      <a:lumMod val="20000"/>
                      <a:lumOff val="80000"/>
                    </a:schemeClr>
                  </a:solidFill>
                  <a:prstDash val="solid"/>
                  <a:miter lim="400000"/>
                </a:ln>
                <a:effectLst/>
                <a:sp3d/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none"/>
              </p:style>
            </p:cxnSp>
            <p:cxnSp>
              <p:nvCxnSpPr>
                <p:cNvPr id="148" name="Conector reto 147">
                  <a:extLst>
                    <a:ext uri="{FF2B5EF4-FFF2-40B4-BE49-F238E27FC236}">
                      <a16:creationId xmlns:a16="http://schemas.microsoft.com/office/drawing/2014/main" id="{128D27A6-A273-45F7-8FFC-5D9BDCF1B92F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8252141" y="1492563"/>
                  <a:ext cx="0" cy="6174135"/>
                </a:xfrm>
                <a:prstGeom prst="line">
                  <a:avLst/>
                </a:prstGeom>
                <a:noFill/>
                <a:ln w="25400" cap="flat">
                  <a:solidFill>
                    <a:schemeClr val="tx2">
                      <a:lumMod val="20000"/>
                      <a:lumOff val="80000"/>
                    </a:schemeClr>
                  </a:solidFill>
                  <a:prstDash val="solid"/>
                  <a:miter lim="400000"/>
                </a:ln>
                <a:effectLst/>
                <a:sp3d/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none"/>
              </p:style>
            </p:cxnSp>
            <p:cxnSp>
              <p:nvCxnSpPr>
                <p:cNvPr id="149" name="Conector reto 148">
                  <a:extLst>
                    <a:ext uri="{FF2B5EF4-FFF2-40B4-BE49-F238E27FC236}">
                      <a16:creationId xmlns:a16="http://schemas.microsoft.com/office/drawing/2014/main" id="{8C79AE3E-23A4-4463-B201-A21D433A44E0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9439805" y="1492563"/>
                  <a:ext cx="0" cy="6174135"/>
                </a:xfrm>
                <a:prstGeom prst="line">
                  <a:avLst/>
                </a:prstGeom>
                <a:noFill/>
                <a:ln w="25400" cap="flat">
                  <a:solidFill>
                    <a:schemeClr val="tx2">
                      <a:lumMod val="20000"/>
                      <a:lumOff val="80000"/>
                    </a:schemeClr>
                  </a:solidFill>
                  <a:prstDash val="solid"/>
                  <a:miter lim="400000"/>
                </a:ln>
                <a:effectLst/>
                <a:sp3d/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none"/>
              </p:style>
            </p:cxnSp>
            <p:cxnSp>
              <p:nvCxnSpPr>
                <p:cNvPr id="150" name="Conector reto 149">
                  <a:extLst>
                    <a:ext uri="{FF2B5EF4-FFF2-40B4-BE49-F238E27FC236}">
                      <a16:creationId xmlns:a16="http://schemas.microsoft.com/office/drawing/2014/main" id="{7B4514BA-5657-41C7-A01E-8EE449F374C6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10823912" y="1492563"/>
                  <a:ext cx="0" cy="6174135"/>
                </a:xfrm>
                <a:prstGeom prst="line">
                  <a:avLst/>
                </a:prstGeom>
                <a:noFill/>
                <a:ln w="25400" cap="flat">
                  <a:solidFill>
                    <a:schemeClr val="tx2">
                      <a:lumMod val="20000"/>
                      <a:lumOff val="80000"/>
                    </a:schemeClr>
                  </a:solidFill>
                  <a:prstDash val="solid"/>
                  <a:miter lim="400000"/>
                </a:ln>
                <a:effectLst/>
                <a:sp3d/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none"/>
              </p:style>
            </p:cxnSp>
            <p:cxnSp>
              <p:nvCxnSpPr>
                <p:cNvPr id="151" name="Conector reto 150">
                  <a:extLst>
                    <a:ext uri="{FF2B5EF4-FFF2-40B4-BE49-F238E27FC236}">
                      <a16:creationId xmlns:a16="http://schemas.microsoft.com/office/drawing/2014/main" id="{BDA5AC2A-C0B2-43C4-BA0E-70ADC036F151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12082464" y="1492563"/>
                  <a:ext cx="0" cy="6174135"/>
                </a:xfrm>
                <a:prstGeom prst="line">
                  <a:avLst/>
                </a:prstGeom>
                <a:noFill/>
                <a:ln w="25400" cap="flat">
                  <a:solidFill>
                    <a:schemeClr val="tx2">
                      <a:lumMod val="20000"/>
                      <a:lumOff val="80000"/>
                    </a:schemeClr>
                  </a:solidFill>
                  <a:prstDash val="solid"/>
                  <a:miter lim="400000"/>
                </a:ln>
                <a:effectLst/>
                <a:sp3d/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none"/>
              </p:style>
            </p:cxnSp>
          </p:grpSp>
        </p:grpSp>
        <p:sp>
          <p:nvSpPr>
            <p:cNvPr id="66" name="Elipse 65">
              <a:extLst>
                <a:ext uri="{FF2B5EF4-FFF2-40B4-BE49-F238E27FC236}">
                  <a16:creationId xmlns:a16="http://schemas.microsoft.com/office/drawing/2014/main" id="{5EF315B2-CFDD-45AF-95F5-2A8DE57760AD}"/>
                </a:ext>
              </a:extLst>
            </p:cNvPr>
            <p:cNvSpPr/>
            <p:nvPr/>
          </p:nvSpPr>
          <p:spPr>
            <a:xfrm>
              <a:off x="9053473" y="1900969"/>
              <a:ext cx="1631223" cy="1510501"/>
            </a:xfrm>
            <a:prstGeom prst="ellipse">
              <a:avLst/>
            </a:prstGeom>
            <a:solidFill>
              <a:schemeClr val="bg1">
                <a:lumMod val="50000"/>
              </a:schemeClr>
            </a:solidFill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26789" tIns="26789" rIns="26789" bIns="26789" numCol="1" spcCol="38100" rtlCol="0" anchor="ctr">
              <a:noAutofit/>
            </a:bodyPr>
            <a:lstStyle/>
            <a:p>
              <a:r>
                <a:rPr lang="pt-BR" sz="738" dirty="0">
                  <a:solidFill>
                    <a:srgbClr val="FFFFFF"/>
                  </a:solidFill>
                  <a:sym typeface="Helvetica Neue Medium"/>
                </a:rPr>
                <a:t>Participa ativamente  </a:t>
              </a:r>
            </a:p>
            <a:p>
              <a:endParaRPr lang="pt-BR" sz="738" dirty="0">
                <a:solidFill>
                  <a:srgbClr val="FFFFFF"/>
                </a:solidFill>
                <a:sym typeface="Helvetica Neue Medium"/>
              </a:endParaRPr>
            </a:p>
          </p:txBody>
        </p:sp>
        <p:cxnSp>
          <p:nvCxnSpPr>
            <p:cNvPr id="68" name="Conector reto 67">
              <a:extLst>
                <a:ext uri="{FF2B5EF4-FFF2-40B4-BE49-F238E27FC236}">
                  <a16:creationId xmlns:a16="http://schemas.microsoft.com/office/drawing/2014/main" id="{21BBEBC2-D77B-4670-81A3-9B4E13923BD7}"/>
                </a:ext>
              </a:extLst>
            </p:cNvPr>
            <p:cNvCxnSpPr>
              <a:cxnSpLocks/>
              <a:stCxn id="66" idx="4"/>
            </p:cNvCxnSpPr>
            <p:nvPr/>
          </p:nvCxnSpPr>
          <p:spPr>
            <a:xfrm>
              <a:off x="9869085" y="3411470"/>
              <a:ext cx="0" cy="520499"/>
            </a:xfrm>
            <a:prstGeom prst="line">
              <a:avLst/>
            </a:prstGeom>
            <a:noFill/>
            <a:ln w="25400" cap="flat">
              <a:solidFill>
                <a:srgbClr val="000000"/>
              </a:solidFill>
              <a:prstDash val="solid"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sp>
          <p:nvSpPr>
            <p:cNvPr id="69" name="Elipse 68">
              <a:extLst>
                <a:ext uri="{FF2B5EF4-FFF2-40B4-BE49-F238E27FC236}">
                  <a16:creationId xmlns:a16="http://schemas.microsoft.com/office/drawing/2014/main" id="{461129CB-8739-4B62-9AF2-43FB91E8CCFE}"/>
                </a:ext>
              </a:extLst>
            </p:cNvPr>
            <p:cNvSpPr/>
            <p:nvPr/>
          </p:nvSpPr>
          <p:spPr>
            <a:xfrm>
              <a:off x="11485520" y="1900969"/>
              <a:ext cx="1631223" cy="1510501"/>
            </a:xfrm>
            <a:prstGeom prst="ellipse">
              <a:avLst/>
            </a:prstGeom>
            <a:solidFill>
              <a:schemeClr val="bg1">
                <a:lumMod val="50000"/>
              </a:schemeClr>
            </a:solidFill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26789" tIns="26789" rIns="26789" bIns="26789" numCol="1" spcCol="38100" rtlCol="0" anchor="ctr">
              <a:noAutofit/>
            </a:bodyPr>
            <a:lstStyle/>
            <a:p>
              <a:r>
                <a:rPr lang="pt-BR" sz="738" dirty="0">
                  <a:solidFill>
                    <a:srgbClr val="FFFFFF"/>
                  </a:solidFill>
                  <a:sym typeface="Helvetica Neue Medium"/>
                </a:rPr>
                <a:t>Participa de forma recorrente em todas as etapas</a:t>
              </a:r>
            </a:p>
            <a:p>
              <a:endParaRPr lang="pt-BR" sz="738" dirty="0">
                <a:solidFill>
                  <a:srgbClr val="FFFFFF"/>
                </a:solidFill>
                <a:sym typeface="Helvetica Neue Medium"/>
              </a:endParaRPr>
            </a:p>
          </p:txBody>
        </p:sp>
        <p:cxnSp>
          <p:nvCxnSpPr>
            <p:cNvPr id="70" name="Conector reto 69">
              <a:extLst>
                <a:ext uri="{FF2B5EF4-FFF2-40B4-BE49-F238E27FC236}">
                  <a16:creationId xmlns:a16="http://schemas.microsoft.com/office/drawing/2014/main" id="{6B49BF37-28FC-46F6-BAD1-414A4E60082C}"/>
                </a:ext>
              </a:extLst>
            </p:cNvPr>
            <p:cNvCxnSpPr>
              <a:cxnSpLocks/>
              <a:stCxn id="69" idx="4"/>
            </p:cNvCxnSpPr>
            <p:nvPr/>
          </p:nvCxnSpPr>
          <p:spPr>
            <a:xfrm>
              <a:off x="12301132" y="3411470"/>
              <a:ext cx="0" cy="520499"/>
            </a:xfrm>
            <a:prstGeom prst="line">
              <a:avLst/>
            </a:prstGeom>
            <a:noFill/>
            <a:ln w="25400" cap="flat">
              <a:solidFill>
                <a:srgbClr val="000000"/>
              </a:solidFill>
              <a:prstDash val="solid"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</p:grpSp>
      <p:sp>
        <p:nvSpPr>
          <p:cNvPr id="3" name="CaixaDeTexto 2">
            <a:extLst>
              <a:ext uri="{FF2B5EF4-FFF2-40B4-BE49-F238E27FC236}">
                <a16:creationId xmlns:a16="http://schemas.microsoft.com/office/drawing/2014/main" id="{4CDFD338-0C96-4C40-9ADA-F132BAF7F1A6}"/>
              </a:ext>
            </a:extLst>
          </p:cNvPr>
          <p:cNvSpPr txBox="1"/>
          <p:nvPr/>
        </p:nvSpPr>
        <p:spPr>
          <a:xfrm>
            <a:off x="3355924" y="63083"/>
            <a:ext cx="982485" cy="28140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6789" tIns="26789" rIns="26789" bIns="26789" numCol="1" spcCol="38100" rtlCol="0" anchor="ctr">
            <a:spAutoFit/>
          </a:bodyPr>
          <a:lstStyle/>
          <a:p>
            <a:pPr algn="l"/>
            <a:r>
              <a:rPr lang="pt-BR" sz="1477" dirty="0"/>
              <a:t>Por que</a:t>
            </a:r>
            <a:endParaRPr lang="pt-BR" sz="1477" b="1" dirty="0">
              <a:solidFill>
                <a:srgbClr val="000000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56" name="CaixaDeTexto 55">
            <a:extLst>
              <a:ext uri="{FF2B5EF4-FFF2-40B4-BE49-F238E27FC236}">
                <a16:creationId xmlns:a16="http://schemas.microsoft.com/office/drawing/2014/main" id="{E1342CCD-D176-4A7E-B025-CD3C255954FA}"/>
              </a:ext>
            </a:extLst>
          </p:cNvPr>
          <p:cNvSpPr txBox="1"/>
          <p:nvPr/>
        </p:nvSpPr>
        <p:spPr>
          <a:xfrm>
            <a:off x="3355924" y="934509"/>
            <a:ext cx="982485" cy="28140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6789" tIns="26789" rIns="26789" bIns="26789" numCol="1" spcCol="38100" rtlCol="0" anchor="ctr">
            <a:spAutoFit/>
          </a:bodyPr>
          <a:lstStyle/>
          <a:p>
            <a:pPr algn="l"/>
            <a:r>
              <a:rPr lang="pt-BR" sz="1477" dirty="0"/>
              <a:t>Quem é</a:t>
            </a:r>
            <a:endParaRPr lang="pt-BR" sz="1477" b="1" dirty="0">
              <a:solidFill>
                <a:srgbClr val="000000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57" name="CaixaDeTexto 56">
            <a:extLst>
              <a:ext uri="{FF2B5EF4-FFF2-40B4-BE49-F238E27FC236}">
                <a16:creationId xmlns:a16="http://schemas.microsoft.com/office/drawing/2014/main" id="{1E6989CD-2CEA-4D3B-9705-1FB985031E30}"/>
              </a:ext>
            </a:extLst>
          </p:cNvPr>
          <p:cNvSpPr txBox="1"/>
          <p:nvPr/>
        </p:nvSpPr>
        <p:spPr>
          <a:xfrm>
            <a:off x="3355924" y="1807314"/>
            <a:ext cx="982485" cy="28140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6789" tIns="26789" rIns="26789" bIns="26789" numCol="1" spcCol="38100" rtlCol="0" anchor="ctr">
            <a:spAutoFit/>
          </a:bodyPr>
          <a:lstStyle/>
          <a:p>
            <a:pPr algn="l"/>
            <a:r>
              <a:rPr lang="pt-BR" sz="1477" b="1" dirty="0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O que faz</a:t>
            </a:r>
          </a:p>
        </p:txBody>
      </p:sp>
      <p:sp>
        <p:nvSpPr>
          <p:cNvPr id="58" name="Seta para Cima 57">
            <a:hlinkClick r:id="" action="ppaction://noaction"/>
          </p:cNvPr>
          <p:cNvSpPr/>
          <p:nvPr/>
        </p:nvSpPr>
        <p:spPr>
          <a:xfrm>
            <a:off x="9126153" y="83751"/>
            <a:ext cx="200912" cy="282103"/>
          </a:xfrm>
          <a:prstGeom prst="upArrow">
            <a:avLst/>
          </a:prstGeom>
          <a:solidFill>
            <a:schemeClr val="accent5">
              <a:lumMod val="7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6789" tIns="26789" rIns="26789" bIns="26789" numCol="1" spcCol="38100" rtlCol="0" anchor="ctr">
            <a:spAutoFit/>
          </a:bodyPr>
          <a:lstStyle/>
          <a:p>
            <a:pPr algn="ctr" defTabSz="308063" hangingPunct="0"/>
            <a:endParaRPr lang="pt-BR" sz="1160">
              <a:solidFill>
                <a:srgbClr val="FFFFFF"/>
              </a:solidFill>
              <a:sym typeface="Helvetica Neue Medium"/>
            </a:endParaRPr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280EA88B-C5E9-40C6-81D0-C1781FB018D4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>
          <a:xfrm>
            <a:off x="6418261" y="6972300"/>
            <a:ext cx="161904" cy="261610"/>
          </a:xfrm>
          <a:prstGeom prst="rect">
            <a:avLst/>
          </a:prstGeom>
          <a:ln w="12700">
            <a:miter lim="400000"/>
          </a:ln>
        </p:spPr>
        <p:txBody>
          <a:bodyPr wrap="none" lIns="38100" tIns="38100" rIns="38100" bIns="38100">
            <a:spAutoFit/>
          </a:bodyPr>
          <a:lstStyle>
            <a:defPPr marL="0" marR="0" indent="0" algn="l" defTabSz="6858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35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ctr" defTabSz="4381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  <a:lvl2pPr marL="0" marR="0" indent="171450" algn="ctr" defTabSz="4381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1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marL="0" marR="0" indent="342900" algn="ctr" defTabSz="4381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1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marL="0" marR="0" indent="514350" algn="ctr" defTabSz="4381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1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marL="0" marR="0" indent="685800" algn="ctr" defTabSz="4381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1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L="0" marR="0" indent="857250" algn="ctr" defTabSz="4381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1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L="0" marR="0" indent="1028700" algn="ctr" defTabSz="4381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1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L="0" marR="0" indent="1200150" algn="ctr" defTabSz="4381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1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L="0" marR="0" indent="1371600" algn="ctr" defTabSz="4381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1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fld id="{86CB4B4D-7CA3-9044-876B-883B54F8677D}" type="slidenum">
              <a:rPr lang="pt-BR" smtClean="0"/>
              <a:pPr/>
              <a:t>8</a:t>
            </a:fld>
            <a:endParaRPr lang="pt-BR"/>
          </a:p>
        </p:txBody>
      </p:sp>
      <p:pic>
        <p:nvPicPr>
          <p:cNvPr id="67" name="Imagem 66">
            <a:extLst>
              <a:ext uri="{FF2B5EF4-FFF2-40B4-BE49-F238E27FC236}">
                <a16:creationId xmlns:a16="http://schemas.microsoft.com/office/drawing/2014/main" id="{7D9774A4-32AF-445A-B097-621ACE4973E4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 rot="19717688">
            <a:off x="-289016" y="-79169"/>
            <a:ext cx="2330399" cy="16405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352821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CaixaDeTexto 40">
            <a:extLst>
              <a:ext uri="{FF2B5EF4-FFF2-40B4-BE49-F238E27FC236}">
                <a16:creationId xmlns:a16="http://schemas.microsoft.com/office/drawing/2014/main" id="{BE979849-FA25-498E-8A8F-F1C2600FD4D5}"/>
              </a:ext>
            </a:extLst>
          </p:cNvPr>
          <p:cNvSpPr txBox="1"/>
          <p:nvPr/>
        </p:nvSpPr>
        <p:spPr>
          <a:xfrm>
            <a:off x="3088126" y="305061"/>
            <a:ext cx="4663475" cy="34623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6789" tIns="26789" rIns="26789" bIns="26789" numCol="1" spcCol="38100" rtlCol="0" anchor="ctr">
            <a:spAutoFit/>
          </a:bodyPr>
          <a:lstStyle/>
          <a:p>
            <a:pPr algn="just" defTabSz="241093"/>
            <a:r>
              <a:rPr lang="pt-BR" sz="949" dirty="0">
                <a:solidFill>
                  <a:prstClr val="black"/>
                </a:solidFill>
                <a:latin typeface="Calibri" panose="020F0502020204030204"/>
              </a:rPr>
              <a:t>Para garantir a sinergia, desenvolvimento técnico e padronização entre profissionais que desempenham um mesmo papel (exemplo </a:t>
            </a:r>
            <a:r>
              <a:rPr lang="pt-BR" sz="949" dirty="0" err="1">
                <a:solidFill>
                  <a:prstClr val="black"/>
                </a:solidFill>
                <a:latin typeface="Calibri" panose="020F0502020204030204"/>
              </a:rPr>
              <a:t>S.O’s</a:t>
            </a:r>
            <a:r>
              <a:rPr lang="pt-BR" sz="949" dirty="0">
                <a:solidFill>
                  <a:prstClr val="black"/>
                </a:solidFill>
                <a:latin typeface="Calibri" panose="020F0502020204030204"/>
              </a:rPr>
              <a:t>, </a:t>
            </a:r>
            <a:r>
              <a:rPr lang="pt-BR" sz="949" dirty="0" err="1">
                <a:solidFill>
                  <a:prstClr val="black"/>
                </a:solidFill>
                <a:latin typeface="Calibri" panose="020F0502020204030204"/>
              </a:rPr>
              <a:t>Q.A’s</a:t>
            </a:r>
            <a:r>
              <a:rPr lang="pt-BR" sz="949" dirty="0">
                <a:solidFill>
                  <a:prstClr val="black"/>
                </a:solidFill>
                <a:latin typeface="Calibri" panose="020F0502020204030204"/>
              </a:rPr>
              <a:t>).</a:t>
            </a:r>
            <a:endParaRPr lang="pt-BR" sz="949" dirty="0">
              <a:solidFill>
                <a:srgbClr val="000000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64" name="CaixaDeTexto 63">
            <a:extLst>
              <a:ext uri="{FF2B5EF4-FFF2-40B4-BE49-F238E27FC236}">
                <a16:creationId xmlns:a16="http://schemas.microsoft.com/office/drawing/2014/main" id="{8C21AC71-95DD-490B-9AEB-85D5A13E0C99}"/>
              </a:ext>
            </a:extLst>
          </p:cNvPr>
          <p:cNvSpPr txBox="1"/>
          <p:nvPr/>
        </p:nvSpPr>
        <p:spPr>
          <a:xfrm>
            <a:off x="3088126" y="1114686"/>
            <a:ext cx="4091480" cy="34623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6789" tIns="26789" rIns="26789" bIns="26789" numCol="1" spcCol="38100" rtlCol="0" anchor="ctr">
            <a:spAutoFit/>
          </a:bodyPr>
          <a:lstStyle/>
          <a:p>
            <a:pPr algn="just" defTabSz="241093"/>
            <a:r>
              <a:rPr lang="pt-BR" sz="949" dirty="0">
                <a:solidFill>
                  <a:prstClr val="black"/>
                </a:solidFill>
                <a:latin typeface="Calibri" panose="020F0502020204030204"/>
              </a:rPr>
              <a:t>Líder da função/papel</a:t>
            </a:r>
          </a:p>
          <a:p>
            <a:pPr algn="just" defTabSz="241093"/>
            <a:r>
              <a:rPr lang="pt-BR" sz="949" dirty="0">
                <a:solidFill>
                  <a:prstClr val="black"/>
                </a:solidFill>
                <a:latin typeface="Calibri" panose="020F0502020204030204"/>
              </a:rPr>
              <a:t>Referência em determinada função da empresa</a:t>
            </a:r>
          </a:p>
        </p:txBody>
      </p:sp>
      <p:sp>
        <p:nvSpPr>
          <p:cNvPr id="42" name="Retângulo 41">
            <a:extLst>
              <a:ext uri="{FF2B5EF4-FFF2-40B4-BE49-F238E27FC236}">
                <a16:creationId xmlns:a16="http://schemas.microsoft.com/office/drawing/2014/main" id="{E800C93C-9769-4212-A5F4-02CB71FC3F2B}"/>
              </a:ext>
            </a:extLst>
          </p:cNvPr>
          <p:cNvSpPr/>
          <p:nvPr/>
        </p:nvSpPr>
        <p:spPr>
          <a:xfrm>
            <a:off x="3088127" y="1786041"/>
            <a:ext cx="6126649" cy="12608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defTabSz="241093"/>
            <a:r>
              <a:rPr lang="pt-BR" sz="949" dirty="0">
                <a:solidFill>
                  <a:prstClr val="black"/>
                </a:solidFill>
                <a:latin typeface="Calibri" panose="020F0502020204030204"/>
              </a:rPr>
              <a:t>Fomenta o aprendizado e desenvolvimento (técnico e comportamental) dos profissionais da mesma função</a:t>
            </a:r>
          </a:p>
          <a:p>
            <a:pPr algn="just" defTabSz="241093"/>
            <a:r>
              <a:rPr lang="pt-BR" sz="949" dirty="0">
                <a:solidFill>
                  <a:prstClr val="black"/>
                </a:solidFill>
                <a:latin typeface="Calibri" panose="020F0502020204030204"/>
              </a:rPr>
              <a:t>Recomenda padronizações sobre as práticas e processos referentes ao seu capítulo</a:t>
            </a:r>
          </a:p>
          <a:p>
            <a:pPr algn="just" defTabSz="241093"/>
            <a:r>
              <a:rPr lang="pt-BR" sz="949" dirty="0">
                <a:solidFill>
                  <a:prstClr val="black"/>
                </a:solidFill>
                <a:latin typeface="Calibri" panose="020F0502020204030204"/>
              </a:rPr>
              <a:t>Pesquisa e traz proposições de melhorias para práticas e processos</a:t>
            </a:r>
          </a:p>
          <a:p>
            <a:pPr algn="just" defTabSz="241093"/>
            <a:r>
              <a:rPr lang="pt-BR" sz="949" dirty="0">
                <a:solidFill>
                  <a:prstClr val="black"/>
                </a:solidFill>
                <a:latin typeface="Calibri" panose="020F0502020204030204"/>
              </a:rPr>
              <a:t>Promove encontros para alinhamento e integração das práticas da função</a:t>
            </a:r>
          </a:p>
          <a:p>
            <a:pPr algn="just" defTabSz="241093"/>
            <a:r>
              <a:rPr lang="pt-BR" sz="949" dirty="0">
                <a:solidFill>
                  <a:prstClr val="black"/>
                </a:solidFill>
                <a:latin typeface="Calibri" panose="020F0502020204030204"/>
              </a:rPr>
              <a:t>Busca ferramentas e alternativas para desimpedir possíveis barreiras na atuação dos profissionais do capítulo</a:t>
            </a:r>
          </a:p>
          <a:p>
            <a:pPr algn="just" defTabSz="241093"/>
            <a:r>
              <a:rPr lang="pt-BR" sz="949" dirty="0">
                <a:solidFill>
                  <a:prstClr val="black"/>
                </a:solidFill>
                <a:latin typeface="Calibri" panose="020F0502020204030204"/>
              </a:rPr>
              <a:t>Promove o aculturamento da cia para entender e promover a prática do seu capítulo</a:t>
            </a:r>
          </a:p>
          <a:p>
            <a:pPr algn="just" defTabSz="241093"/>
            <a:r>
              <a:rPr lang="pt-BR" sz="949" dirty="0">
                <a:solidFill>
                  <a:prstClr val="black"/>
                </a:solidFill>
                <a:latin typeface="Calibri" panose="020F0502020204030204"/>
              </a:rPr>
              <a:t>Presta </a:t>
            </a:r>
            <a:r>
              <a:rPr lang="pt-BR" sz="949" i="1" dirty="0" err="1">
                <a:solidFill>
                  <a:prstClr val="black"/>
                </a:solidFill>
                <a:latin typeface="Calibri" panose="020F0502020204030204"/>
              </a:rPr>
              <a:t>reports</a:t>
            </a:r>
            <a:r>
              <a:rPr lang="pt-BR" sz="949" dirty="0">
                <a:solidFill>
                  <a:prstClr val="black"/>
                </a:solidFill>
                <a:latin typeface="Calibri" panose="020F0502020204030204"/>
              </a:rPr>
              <a:t> para todos stakeholders sobre o funcionamento e avanços do seu capítulo</a:t>
            </a:r>
          </a:p>
          <a:p>
            <a:pPr algn="just" defTabSz="241093"/>
            <a:r>
              <a:rPr lang="pt-BR" sz="949" dirty="0">
                <a:solidFill>
                  <a:prstClr val="black"/>
                </a:solidFill>
                <a:latin typeface="Calibri" panose="020F0502020204030204"/>
              </a:rPr>
              <a:t>Serve como apoio para construção de novos times ou realocação de profissionais responsivos à complexidade do desafio</a:t>
            </a:r>
          </a:p>
        </p:txBody>
      </p:sp>
      <p:sp>
        <p:nvSpPr>
          <p:cNvPr id="68" name="Líder de Capítulo">
            <a:extLst>
              <a:ext uri="{FF2B5EF4-FFF2-40B4-BE49-F238E27FC236}">
                <a16:creationId xmlns:a16="http://schemas.microsoft.com/office/drawing/2014/main" id="{7055C211-0792-42D4-B674-5B9AD63BB284}"/>
              </a:ext>
            </a:extLst>
          </p:cNvPr>
          <p:cNvSpPr txBox="1"/>
          <p:nvPr/>
        </p:nvSpPr>
        <p:spPr>
          <a:xfrm>
            <a:off x="1110976" y="2556094"/>
            <a:ext cx="2229071" cy="28140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26789" tIns="26789" rIns="26789" bIns="26789" numCol="1" anchor="ctr">
            <a:spAutoFit/>
          </a:bodyPr>
          <a:lstStyle>
            <a:lvl1pPr>
              <a:defRPr sz="2000"/>
            </a:lvl1pPr>
          </a:lstStyle>
          <a:p>
            <a:r>
              <a:rPr sz="1477" dirty="0" err="1">
                <a:solidFill>
                  <a:srgbClr val="FF0000"/>
                </a:solidFill>
              </a:rPr>
              <a:t>Líder</a:t>
            </a:r>
            <a:r>
              <a:rPr sz="1477" dirty="0">
                <a:solidFill>
                  <a:srgbClr val="FF0000"/>
                </a:solidFill>
              </a:rPr>
              <a:t> de </a:t>
            </a:r>
            <a:r>
              <a:rPr sz="1477" dirty="0" err="1">
                <a:solidFill>
                  <a:srgbClr val="FF0000"/>
                </a:solidFill>
              </a:rPr>
              <a:t>Capítulo</a:t>
            </a:r>
            <a:r>
              <a:rPr lang="pt-BR" sz="1477" dirty="0">
                <a:solidFill>
                  <a:srgbClr val="FF0000"/>
                </a:solidFill>
              </a:rPr>
              <a:t>/Time</a:t>
            </a:r>
            <a:endParaRPr sz="1477" dirty="0">
              <a:solidFill>
                <a:srgbClr val="FF0000"/>
              </a:solidFill>
            </a:endParaRPr>
          </a:p>
        </p:txBody>
      </p:sp>
      <p:sp>
        <p:nvSpPr>
          <p:cNvPr id="69" name="Garante sinergia">
            <a:extLst>
              <a:ext uri="{FF2B5EF4-FFF2-40B4-BE49-F238E27FC236}">
                <a16:creationId xmlns:a16="http://schemas.microsoft.com/office/drawing/2014/main" id="{0DEE39C6-B3C4-4655-8B95-3FFACA4C34A7}"/>
              </a:ext>
            </a:extLst>
          </p:cNvPr>
          <p:cNvSpPr txBox="1"/>
          <p:nvPr/>
        </p:nvSpPr>
        <p:spPr>
          <a:xfrm>
            <a:off x="1099764" y="2765491"/>
            <a:ext cx="2251494" cy="28140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26789" tIns="26789" rIns="26789" bIns="26789" numCol="1" anchor="ctr">
            <a:spAutoFit/>
          </a:bodyPr>
          <a:lstStyle>
            <a:lvl1pPr>
              <a:defRPr sz="1800" b="0"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r>
              <a:rPr lang="pt-BR" sz="1477" b="1" dirty="0"/>
              <a:t>Sinergia entre papéis</a:t>
            </a:r>
            <a:endParaRPr sz="1477" b="1" dirty="0"/>
          </a:p>
        </p:txBody>
      </p:sp>
      <p:pic>
        <p:nvPicPr>
          <p:cNvPr id="70" name="Imagem 69">
            <a:extLst>
              <a:ext uri="{FF2B5EF4-FFF2-40B4-BE49-F238E27FC236}">
                <a16:creationId xmlns:a16="http://schemas.microsoft.com/office/drawing/2014/main" id="{2F7E422C-571B-4A03-9D57-16D920C486A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41951" y="929598"/>
            <a:ext cx="1530006" cy="1530006"/>
          </a:xfrm>
          <a:prstGeom prst="rect">
            <a:avLst/>
          </a:prstGeom>
        </p:spPr>
      </p:pic>
      <p:grpSp>
        <p:nvGrpSpPr>
          <p:cNvPr id="116" name="Agrupar 115">
            <a:extLst>
              <a:ext uri="{FF2B5EF4-FFF2-40B4-BE49-F238E27FC236}">
                <a16:creationId xmlns:a16="http://schemas.microsoft.com/office/drawing/2014/main" id="{687F8C9D-C531-411E-89F9-8638DA12D484}"/>
              </a:ext>
            </a:extLst>
          </p:cNvPr>
          <p:cNvGrpSpPr/>
          <p:nvPr/>
        </p:nvGrpSpPr>
        <p:grpSpPr>
          <a:xfrm>
            <a:off x="945719" y="4277860"/>
            <a:ext cx="6705783" cy="687664"/>
            <a:chOff x="128381" y="1934981"/>
            <a:chExt cx="12716540" cy="1304054"/>
          </a:xfrm>
        </p:grpSpPr>
        <p:pic>
          <p:nvPicPr>
            <p:cNvPr id="117" name="Imagem 116">
              <a:extLst>
                <a:ext uri="{FF2B5EF4-FFF2-40B4-BE49-F238E27FC236}">
                  <a16:creationId xmlns:a16="http://schemas.microsoft.com/office/drawing/2014/main" id="{0CFA8E47-D23B-4EB7-8EA8-692B4141A20F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email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245160" y="2609190"/>
              <a:ext cx="570670" cy="570670"/>
            </a:xfrm>
            <a:prstGeom prst="rect">
              <a:avLst/>
            </a:prstGeom>
          </p:spPr>
        </p:pic>
        <p:sp>
          <p:nvSpPr>
            <p:cNvPr id="118" name="Retângulo 117">
              <a:extLst>
                <a:ext uri="{FF2B5EF4-FFF2-40B4-BE49-F238E27FC236}">
                  <a16:creationId xmlns:a16="http://schemas.microsoft.com/office/drawing/2014/main" id="{A288BFF9-A8CD-41F1-B97D-525FB599E91B}"/>
                </a:ext>
              </a:extLst>
            </p:cNvPr>
            <p:cNvSpPr/>
            <p:nvPr/>
          </p:nvSpPr>
          <p:spPr>
            <a:xfrm>
              <a:off x="934579" y="1943965"/>
              <a:ext cx="11141527" cy="715396"/>
            </a:xfrm>
            <a:prstGeom prst="rect">
              <a:avLst/>
            </a:prstGeom>
            <a:solidFill>
              <a:schemeClr val="bg2">
                <a:lumMod val="75000"/>
              </a:schemeClr>
            </a:solidFill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26789" tIns="26789" rIns="26789" bIns="26789" numCol="1" spcCol="38100" rtlCol="0" anchor="ctr">
              <a:noAutofit/>
            </a:bodyPr>
            <a:lstStyle/>
            <a:p>
              <a:endParaRPr lang="pt-BR" sz="1160" dirty="0">
                <a:solidFill>
                  <a:srgbClr val="FFFFFF"/>
                </a:solidFill>
                <a:sym typeface="Helvetica Neue Medium"/>
              </a:endParaRPr>
            </a:p>
          </p:txBody>
        </p:sp>
        <p:sp>
          <p:nvSpPr>
            <p:cNvPr id="119" name="CaixaDeTexto 118">
              <a:extLst>
                <a:ext uri="{FF2B5EF4-FFF2-40B4-BE49-F238E27FC236}">
                  <a16:creationId xmlns:a16="http://schemas.microsoft.com/office/drawing/2014/main" id="{AAE3D637-CBFA-4917-802C-C43C6AC67646}"/>
                </a:ext>
              </a:extLst>
            </p:cNvPr>
            <p:cNvSpPr txBox="1"/>
            <p:nvPr/>
          </p:nvSpPr>
          <p:spPr>
            <a:xfrm flipH="1">
              <a:off x="1024651" y="2138200"/>
              <a:ext cx="1290327" cy="317939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26789" tIns="26789" rIns="26789" bIns="26789" numCol="1" spcCol="38100" rtlCol="0" anchor="ctr">
              <a:spAutoFit/>
            </a:bodyPr>
            <a:lstStyle/>
            <a:p>
              <a:r>
                <a:rPr lang="pt-BR" sz="738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Oportunidade</a:t>
              </a:r>
            </a:p>
          </p:txBody>
        </p:sp>
        <p:pic>
          <p:nvPicPr>
            <p:cNvPr id="120" name="Imagem 119">
              <a:extLst>
                <a:ext uri="{FF2B5EF4-FFF2-40B4-BE49-F238E27FC236}">
                  <a16:creationId xmlns:a16="http://schemas.microsoft.com/office/drawing/2014/main" id="{CCAD1F78-1854-4B34-B542-C2FDEC1DD589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82967" y="2705338"/>
              <a:ext cx="497756" cy="497756"/>
            </a:xfrm>
            <a:prstGeom prst="rect">
              <a:avLst/>
            </a:prstGeom>
          </p:spPr>
        </p:pic>
        <p:sp>
          <p:nvSpPr>
            <p:cNvPr id="153" name="CaixaDeTexto 152">
              <a:extLst>
                <a:ext uri="{FF2B5EF4-FFF2-40B4-BE49-F238E27FC236}">
                  <a16:creationId xmlns:a16="http://schemas.microsoft.com/office/drawing/2014/main" id="{DD0576D1-9F29-4730-AE5A-4CA3770DBEDC}"/>
                </a:ext>
              </a:extLst>
            </p:cNvPr>
            <p:cNvSpPr txBox="1"/>
            <p:nvPr/>
          </p:nvSpPr>
          <p:spPr>
            <a:xfrm flipH="1">
              <a:off x="1631155" y="2679066"/>
              <a:ext cx="584564" cy="264316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26789" tIns="26789" rIns="26789" bIns="26789" numCol="1" spcCol="38100" rtlCol="0" anchor="ctr">
              <a:spAutoFit/>
            </a:bodyPr>
            <a:lstStyle/>
            <a:p>
              <a:r>
                <a:rPr lang="pt-BR" sz="554" dirty="0">
                  <a:solidFill>
                    <a:schemeClr val="bg2">
                      <a:lumMod val="50000"/>
                    </a:schemeClr>
                  </a:solidFill>
                </a:rPr>
                <a:t>BMC</a:t>
              </a:r>
            </a:p>
          </p:txBody>
        </p:sp>
        <p:sp>
          <p:nvSpPr>
            <p:cNvPr id="154" name="Retângulo 153">
              <a:extLst>
                <a:ext uri="{FF2B5EF4-FFF2-40B4-BE49-F238E27FC236}">
                  <a16:creationId xmlns:a16="http://schemas.microsoft.com/office/drawing/2014/main" id="{B9BF9288-4449-4039-93C6-2464D6CA5A93}"/>
                </a:ext>
              </a:extLst>
            </p:cNvPr>
            <p:cNvSpPr/>
            <p:nvPr/>
          </p:nvSpPr>
          <p:spPr>
            <a:xfrm>
              <a:off x="2499786" y="1943965"/>
              <a:ext cx="1415136" cy="715396"/>
            </a:xfrm>
            <a:prstGeom prst="rect">
              <a:avLst/>
            </a:prstGeom>
            <a:solidFill>
              <a:schemeClr val="tx1">
                <a:lumMod val="75000"/>
                <a:lumOff val="25000"/>
              </a:schemeClr>
            </a:solidFill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26789" tIns="26789" rIns="26789" bIns="26789" numCol="1" spcCol="38100" rtlCol="0" anchor="ctr">
              <a:noAutofit/>
            </a:bodyPr>
            <a:lstStyle/>
            <a:p>
              <a:r>
                <a:rPr lang="pt-BR" sz="554" dirty="0">
                  <a:solidFill>
                    <a:schemeClr val="tx2">
                      <a:lumMod val="20000"/>
                      <a:lumOff val="80000"/>
                    </a:schemeClr>
                  </a:solidFill>
                  <a:sym typeface="Helvetica Neue Medium"/>
                </a:rPr>
                <a:t>Aprovação e Priorização</a:t>
              </a:r>
            </a:p>
          </p:txBody>
        </p:sp>
        <p:sp>
          <p:nvSpPr>
            <p:cNvPr id="155" name="CaixaDeTexto 154">
              <a:extLst>
                <a:ext uri="{FF2B5EF4-FFF2-40B4-BE49-F238E27FC236}">
                  <a16:creationId xmlns:a16="http://schemas.microsoft.com/office/drawing/2014/main" id="{E740FA78-0E02-4361-89CA-48BD56959173}"/>
                </a:ext>
              </a:extLst>
            </p:cNvPr>
            <p:cNvSpPr txBox="1"/>
            <p:nvPr/>
          </p:nvSpPr>
          <p:spPr>
            <a:xfrm>
              <a:off x="1357886" y="2824130"/>
              <a:ext cx="1132776" cy="379830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26789" tIns="26789" rIns="26789" bIns="26789" numCol="1" spcCol="38100" rtlCol="0" anchor="ctr">
              <a:spAutoFit/>
            </a:bodyPr>
            <a:lstStyle/>
            <a:p>
              <a:r>
                <a:rPr lang="pt-BR" sz="475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Business </a:t>
              </a:r>
              <a:r>
                <a:rPr lang="pt-BR" sz="475" dirty="0" err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Model</a:t>
              </a:r>
              <a:r>
                <a:rPr lang="pt-BR" sz="475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  </a:t>
              </a:r>
              <a:r>
                <a:rPr lang="pt-BR" sz="475" dirty="0" err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Canvas</a:t>
              </a:r>
              <a:endParaRPr lang="pt-BR" sz="475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156" name="CaixaDeTexto 155">
              <a:extLst>
                <a:ext uri="{FF2B5EF4-FFF2-40B4-BE49-F238E27FC236}">
                  <a16:creationId xmlns:a16="http://schemas.microsoft.com/office/drawing/2014/main" id="{BFDD5B7E-20F2-4F7E-8278-5838D84C0EFE}"/>
                </a:ext>
              </a:extLst>
            </p:cNvPr>
            <p:cNvSpPr txBox="1"/>
            <p:nvPr/>
          </p:nvSpPr>
          <p:spPr>
            <a:xfrm flipH="1">
              <a:off x="3893754" y="2142692"/>
              <a:ext cx="1290327" cy="317939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26789" tIns="26789" rIns="26789" bIns="26789" numCol="1" spcCol="38100" rtlCol="0" anchor="ctr">
              <a:spAutoFit/>
            </a:bodyPr>
            <a:lstStyle/>
            <a:p>
              <a:r>
                <a:rPr lang="pt-BR" sz="738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Refinamento</a:t>
              </a:r>
            </a:p>
          </p:txBody>
        </p:sp>
        <p:pic>
          <p:nvPicPr>
            <p:cNvPr id="157" name="Imagem 156">
              <a:extLst>
                <a:ext uri="{FF2B5EF4-FFF2-40B4-BE49-F238E27FC236}">
                  <a16:creationId xmlns:a16="http://schemas.microsoft.com/office/drawing/2014/main" id="{AD67FAD0-ADC9-4317-98E2-C1EE864BB92E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63020" y="2692922"/>
              <a:ext cx="497756" cy="497756"/>
            </a:xfrm>
            <a:prstGeom prst="rect">
              <a:avLst/>
            </a:prstGeom>
          </p:spPr>
        </p:pic>
        <p:sp>
          <p:nvSpPr>
            <p:cNvPr id="158" name="CaixaDeTexto 157">
              <a:extLst>
                <a:ext uri="{FF2B5EF4-FFF2-40B4-BE49-F238E27FC236}">
                  <a16:creationId xmlns:a16="http://schemas.microsoft.com/office/drawing/2014/main" id="{2815CB45-44E2-4EFE-B36B-D497F4CA1AF6}"/>
                </a:ext>
              </a:extLst>
            </p:cNvPr>
            <p:cNvSpPr txBox="1"/>
            <p:nvPr/>
          </p:nvSpPr>
          <p:spPr>
            <a:xfrm flipH="1">
              <a:off x="4551066" y="2719611"/>
              <a:ext cx="584564" cy="264316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26789" tIns="26789" rIns="26789" bIns="26789" numCol="1" spcCol="38100" rtlCol="0" anchor="ctr">
              <a:spAutoFit/>
            </a:bodyPr>
            <a:lstStyle/>
            <a:p>
              <a:r>
                <a:rPr lang="pt-BR" sz="554" dirty="0">
                  <a:solidFill>
                    <a:schemeClr val="bg2">
                      <a:lumMod val="50000"/>
                    </a:schemeClr>
                  </a:solidFill>
                </a:rPr>
                <a:t>BMC 2</a:t>
              </a:r>
            </a:p>
          </p:txBody>
        </p:sp>
        <p:sp>
          <p:nvSpPr>
            <p:cNvPr id="159" name="CaixaDeTexto 158">
              <a:extLst>
                <a:ext uri="{FF2B5EF4-FFF2-40B4-BE49-F238E27FC236}">
                  <a16:creationId xmlns:a16="http://schemas.microsoft.com/office/drawing/2014/main" id="{F45C9ED0-13A3-4B27-9D13-3D799C5ED175}"/>
                </a:ext>
              </a:extLst>
            </p:cNvPr>
            <p:cNvSpPr txBox="1"/>
            <p:nvPr/>
          </p:nvSpPr>
          <p:spPr>
            <a:xfrm>
              <a:off x="4405458" y="2928410"/>
              <a:ext cx="771365" cy="241212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none" lIns="26789" tIns="26789" rIns="26789" bIns="26789" numCol="1" spcCol="38100" rtlCol="0" anchor="ctr">
              <a:spAutoFit/>
            </a:bodyPr>
            <a:lstStyle/>
            <a:p>
              <a:r>
                <a:rPr lang="pt-BR" sz="475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Complemento</a:t>
              </a:r>
            </a:p>
          </p:txBody>
        </p:sp>
        <p:sp>
          <p:nvSpPr>
            <p:cNvPr id="160" name="Retângulo 159">
              <a:extLst>
                <a:ext uri="{FF2B5EF4-FFF2-40B4-BE49-F238E27FC236}">
                  <a16:creationId xmlns:a16="http://schemas.microsoft.com/office/drawing/2014/main" id="{EA9E859B-2E0C-418D-BF19-658B8D609AC0}"/>
                </a:ext>
              </a:extLst>
            </p:cNvPr>
            <p:cNvSpPr/>
            <p:nvPr/>
          </p:nvSpPr>
          <p:spPr>
            <a:xfrm>
              <a:off x="128381" y="1943966"/>
              <a:ext cx="752070" cy="715396"/>
            </a:xfrm>
            <a:prstGeom prst="rect">
              <a:avLst/>
            </a:prstGeom>
            <a:solidFill>
              <a:srgbClr val="C00000"/>
            </a:solidFill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26789" tIns="26789" rIns="26789" bIns="26789" numCol="1" spcCol="38100" rtlCol="0" anchor="ctr">
              <a:noAutofit/>
            </a:bodyPr>
            <a:lstStyle/>
            <a:p>
              <a:r>
                <a:rPr lang="pt-BR" sz="580" dirty="0">
                  <a:solidFill>
                    <a:srgbClr val="FFFFFF"/>
                  </a:solidFill>
                  <a:sym typeface="Helvetica Neue Medium"/>
                </a:rPr>
                <a:t>Fluxo Produtivo</a:t>
              </a:r>
            </a:p>
          </p:txBody>
        </p:sp>
        <p:sp>
          <p:nvSpPr>
            <p:cNvPr id="161" name="Retângulo 160">
              <a:extLst>
                <a:ext uri="{FF2B5EF4-FFF2-40B4-BE49-F238E27FC236}">
                  <a16:creationId xmlns:a16="http://schemas.microsoft.com/office/drawing/2014/main" id="{0334CCCF-025C-44E5-824A-9D8FC09D38D8}"/>
                </a:ext>
              </a:extLst>
            </p:cNvPr>
            <p:cNvSpPr/>
            <p:nvPr/>
          </p:nvSpPr>
          <p:spPr>
            <a:xfrm>
              <a:off x="5263607" y="1943965"/>
              <a:ext cx="1415136" cy="715396"/>
            </a:xfrm>
            <a:prstGeom prst="rect">
              <a:avLst/>
            </a:prstGeom>
            <a:solidFill>
              <a:schemeClr val="tx1">
                <a:lumMod val="75000"/>
                <a:lumOff val="25000"/>
              </a:schemeClr>
            </a:solidFill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26789" tIns="26789" rIns="26789" bIns="26789" numCol="1" spcCol="38100" rtlCol="0" anchor="ctr">
              <a:noAutofit/>
            </a:bodyPr>
            <a:lstStyle/>
            <a:p>
              <a:r>
                <a:rPr lang="pt-BR" sz="554" dirty="0">
                  <a:solidFill>
                    <a:schemeClr val="tx2">
                      <a:lumMod val="20000"/>
                      <a:lumOff val="80000"/>
                    </a:schemeClr>
                  </a:solidFill>
                  <a:sym typeface="Helvetica Neue Medium"/>
                </a:rPr>
                <a:t>Aprovação e Priorização Corporativa</a:t>
              </a:r>
            </a:p>
          </p:txBody>
        </p:sp>
        <p:pic>
          <p:nvPicPr>
            <p:cNvPr id="162" name="Imagem 161">
              <a:extLst>
                <a:ext uri="{FF2B5EF4-FFF2-40B4-BE49-F238E27FC236}">
                  <a16:creationId xmlns:a16="http://schemas.microsoft.com/office/drawing/2014/main" id="{90376E6E-3440-4A91-AF69-7FC16BF3135F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email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557187" y="2671717"/>
              <a:ext cx="530286" cy="530286"/>
            </a:xfrm>
            <a:prstGeom prst="rect">
              <a:avLst/>
            </a:prstGeom>
          </p:spPr>
        </p:pic>
        <p:sp>
          <p:nvSpPr>
            <p:cNvPr id="163" name="CaixaDeTexto 162">
              <a:extLst>
                <a:ext uri="{FF2B5EF4-FFF2-40B4-BE49-F238E27FC236}">
                  <a16:creationId xmlns:a16="http://schemas.microsoft.com/office/drawing/2014/main" id="{F4C16A80-6124-4ACB-B6A4-F48BB4CA336C}"/>
                </a:ext>
              </a:extLst>
            </p:cNvPr>
            <p:cNvSpPr txBox="1"/>
            <p:nvPr/>
          </p:nvSpPr>
          <p:spPr>
            <a:xfrm>
              <a:off x="3023938" y="2662398"/>
              <a:ext cx="807843" cy="379830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none" lIns="26789" tIns="26789" rIns="26789" bIns="26789" numCol="1" spcCol="38100" rtlCol="0" anchor="t">
              <a:spAutoFit/>
            </a:bodyPr>
            <a:lstStyle/>
            <a:p>
              <a:r>
                <a:rPr lang="pt-BR" sz="475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Backlog de </a:t>
              </a:r>
            </a:p>
            <a:p>
              <a:r>
                <a:rPr lang="pt-BR" sz="475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Oportunidades</a:t>
              </a:r>
            </a:p>
          </p:txBody>
        </p:sp>
        <p:sp>
          <p:nvSpPr>
            <p:cNvPr id="180" name="Retângulo 179">
              <a:extLst>
                <a:ext uri="{FF2B5EF4-FFF2-40B4-BE49-F238E27FC236}">
                  <a16:creationId xmlns:a16="http://schemas.microsoft.com/office/drawing/2014/main" id="{0DC644AD-E3D9-4C7A-BBC6-8192F63911D5}"/>
                </a:ext>
              </a:extLst>
            </p:cNvPr>
            <p:cNvSpPr/>
            <p:nvPr/>
          </p:nvSpPr>
          <p:spPr>
            <a:xfrm>
              <a:off x="128978" y="2705338"/>
              <a:ext cx="750798" cy="496665"/>
            </a:xfrm>
            <a:prstGeom prst="rect">
              <a:avLst/>
            </a:prstGeom>
            <a:solidFill>
              <a:schemeClr val="bg2">
                <a:alpha val="71000"/>
              </a:schemeClr>
            </a:solidFill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26789" tIns="26789" rIns="26789" bIns="26789" numCol="1" spcCol="38100" rtlCol="0" anchor="ctr">
              <a:noAutofit/>
            </a:bodyPr>
            <a:lstStyle/>
            <a:p>
              <a:r>
                <a:rPr lang="pt-BR" sz="475" dirty="0">
                  <a:solidFill>
                    <a:schemeClr val="tx1">
                      <a:lumMod val="75000"/>
                      <a:lumOff val="25000"/>
                    </a:schemeClr>
                  </a:solidFill>
                  <a:sym typeface="Helvetica Neue Medium"/>
                </a:rPr>
                <a:t>Artefato</a:t>
              </a:r>
            </a:p>
          </p:txBody>
        </p:sp>
        <p:pic>
          <p:nvPicPr>
            <p:cNvPr id="181" name="Picture 4" descr="Resultado de imagem para backlog png">
              <a:extLst>
                <a:ext uri="{FF2B5EF4-FFF2-40B4-BE49-F238E27FC236}">
                  <a16:creationId xmlns:a16="http://schemas.microsoft.com/office/drawing/2014/main" id="{200555B3-C5AA-4234-9115-824F991F4EA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 cstate="email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359424" y="2679027"/>
              <a:ext cx="503680" cy="50368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82" name="CaixaDeTexto 181">
              <a:extLst>
                <a:ext uri="{FF2B5EF4-FFF2-40B4-BE49-F238E27FC236}">
                  <a16:creationId xmlns:a16="http://schemas.microsoft.com/office/drawing/2014/main" id="{79905964-36D1-485C-B771-E6FA44DD5BDC}"/>
                </a:ext>
              </a:extLst>
            </p:cNvPr>
            <p:cNvSpPr txBox="1"/>
            <p:nvPr/>
          </p:nvSpPr>
          <p:spPr>
            <a:xfrm>
              <a:off x="5873593" y="2646637"/>
              <a:ext cx="719687" cy="410229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none" lIns="26789" tIns="26789" rIns="26789" bIns="26789" numCol="1" spcCol="38100" rtlCol="0" anchor="ctr">
              <a:spAutoFit/>
            </a:bodyPr>
            <a:lstStyle/>
            <a:p>
              <a:r>
                <a:rPr lang="pt-BR" sz="527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Backlog</a:t>
              </a:r>
            </a:p>
            <a:p>
              <a:r>
                <a:rPr lang="pt-BR" sz="527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Corporativo</a:t>
              </a:r>
            </a:p>
          </p:txBody>
        </p:sp>
        <p:sp>
          <p:nvSpPr>
            <p:cNvPr id="183" name="CaixaDeTexto 182">
              <a:extLst>
                <a:ext uri="{FF2B5EF4-FFF2-40B4-BE49-F238E27FC236}">
                  <a16:creationId xmlns:a16="http://schemas.microsoft.com/office/drawing/2014/main" id="{6321616B-5213-457F-9DBB-BFEED8645C1F}"/>
                </a:ext>
              </a:extLst>
            </p:cNvPr>
            <p:cNvSpPr txBox="1"/>
            <p:nvPr/>
          </p:nvSpPr>
          <p:spPr>
            <a:xfrm flipH="1">
              <a:off x="6806518" y="2035021"/>
              <a:ext cx="1290327" cy="533283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26789" tIns="26789" rIns="26789" bIns="26789" numCol="1" spcCol="38100" rtlCol="0" anchor="ctr">
              <a:spAutoFit/>
            </a:bodyPr>
            <a:lstStyle/>
            <a:p>
              <a:r>
                <a:rPr lang="pt-BR" sz="738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Estratégia de Entrega</a:t>
              </a:r>
            </a:p>
          </p:txBody>
        </p:sp>
        <p:pic>
          <p:nvPicPr>
            <p:cNvPr id="184" name="Imagem 183">
              <a:extLst>
                <a:ext uri="{FF2B5EF4-FFF2-40B4-BE49-F238E27FC236}">
                  <a16:creationId xmlns:a16="http://schemas.microsoft.com/office/drawing/2014/main" id="{3C236802-4FAB-4EFC-91FF-6F321A7F604B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email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768863" y="2696384"/>
              <a:ext cx="444593" cy="444593"/>
            </a:xfrm>
            <a:prstGeom prst="rect">
              <a:avLst/>
            </a:prstGeom>
          </p:spPr>
        </p:pic>
        <p:sp>
          <p:nvSpPr>
            <p:cNvPr id="185" name="CaixaDeTexto 184">
              <a:extLst>
                <a:ext uri="{FF2B5EF4-FFF2-40B4-BE49-F238E27FC236}">
                  <a16:creationId xmlns:a16="http://schemas.microsoft.com/office/drawing/2014/main" id="{826A1CF2-0FFD-4BCE-B90F-FBA8D6201921}"/>
                </a:ext>
              </a:extLst>
            </p:cNvPr>
            <p:cNvSpPr txBox="1"/>
            <p:nvPr/>
          </p:nvSpPr>
          <p:spPr>
            <a:xfrm>
              <a:off x="7370795" y="2623283"/>
              <a:ext cx="598093" cy="564167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none" lIns="26789" tIns="26789" rIns="26789" bIns="26789" numCol="1" spcCol="38100" rtlCol="0" anchor="t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pt-BR" sz="527" dirty="0" err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Roadmap</a:t>
              </a:r>
              <a:endParaRPr lang="pt-BR" sz="527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  <a:p>
              <a:pPr>
                <a:lnSpc>
                  <a:spcPct val="150000"/>
                </a:lnSpc>
              </a:pPr>
              <a:r>
                <a:rPr lang="pt-BR" sz="527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Épicos</a:t>
              </a:r>
            </a:p>
          </p:txBody>
        </p:sp>
        <p:sp>
          <p:nvSpPr>
            <p:cNvPr id="186" name="Retângulo 185">
              <a:extLst>
                <a:ext uri="{FF2B5EF4-FFF2-40B4-BE49-F238E27FC236}">
                  <a16:creationId xmlns:a16="http://schemas.microsoft.com/office/drawing/2014/main" id="{4756B1D6-9B2E-4D04-A4AC-32658D8396EF}"/>
                </a:ext>
              </a:extLst>
            </p:cNvPr>
            <p:cNvSpPr/>
            <p:nvPr/>
          </p:nvSpPr>
          <p:spPr>
            <a:xfrm>
              <a:off x="8254090" y="1939473"/>
              <a:ext cx="1185715" cy="715396"/>
            </a:xfrm>
            <a:prstGeom prst="rect">
              <a:avLst/>
            </a:prstGeom>
            <a:solidFill>
              <a:schemeClr val="tx1">
                <a:lumMod val="75000"/>
                <a:lumOff val="25000"/>
              </a:schemeClr>
            </a:solidFill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26789" tIns="26789" rIns="26789" bIns="26789" numCol="1" spcCol="38100" rtlCol="0" anchor="ctr">
              <a:noAutofit/>
            </a:bodyPr>
            <a:lstStyle/>
            <a:p>
              <a:r>
                <a:rPr lang="pt-BR" sz="554" dirty="0">
                  <a:solidFill>
                    <a:schemeClr val="tx2">
                      <a:lumMod val="20000"/>
                      <a:lumOff val="80000"/>
                    </a:schemeClr>
                  </a:solidFill>
                  <a:sym typeface="Helvetica Neue Medium"/>
                </a:rPr>
                <a:t>Épicos </a:t>
              </a:r>
            </a:p>
            <a:p>
              <a:r>
                <a:rPr lang="pt-BR" sz="554" dirty="0">
                  <a:solidFill>
                    <a:schemeClr val="tx2">
                      <a:lumMod val="20000"/>
                      <a:lumOff val="80000"/>
                    </a:schemeClr>
                  </a:solidFill>
                  <a:sym typeface="Helvetica Neue Medium"/>
                </a:rPr>
                <a:t>Priorizados</a:t>
              </a:r>
            </a:p>
          </p:txBody>
        </p:sp>
        <p:sp>
          <p:nvSpPr>
            <p:cNvPr id="187" name="CaixaDeTexto 186">
              <a:extLst>
                <a:ext uri="{FF2B5EF4-FFF2-40B4-BE49-F238E27FC236}">
                  <a16:creationId xmlns:a16="http://schemas.microsoft.com/office/drawing/2014/main" id="{0AC817BA-4D3D-47F7-A826-ADA48858B0DE}"/>
                </a:ext>
              </a:extLst>
            </p:cNvPr>
            <p:cNvSpPr txBox="1"/>
            <p:nvPr/>
          </p:nvSpPr>
          <p:spPr>
            <a:xfrm>
              <a:off x="8744375" y="2712420"/>
              <a:ext cx="570670" cy="410229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26789" tIns="26789" rIns="26789" bIns="26789" numCol="1" spcCol="38100" rtlCol="0" anchor="t">
              <a:spAutoFit/>
            </a:bodyPr>
            <a:lstStyle/>
            <a:p>
              <a:r>
                <a:rPr lang="pt-BR" sz="527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Backlog</a:t>
              </a:r>
            </a:p>
            <a:p>
              <a:r>
                <a:rPr lang="pt-BR" sz="527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Épicos</a:t>
              </a:r>
            </a:p>
          </p:txBody>
        </p:sp>
        <p:sp>
          <p:nvSpPr>
            <p:cNvPr id="188" name="CaixaDeTexto 187">
              <a:extLst>
                <a:ext uri="{FF2B5EF4-FFF2-40B4-BE49-F238E27FC236}">
                  <a16:creationId xmlns:a16="http://schemas.microsoft.com/office/drawing/2014/main" id="{444FD04B-0D82-47A6-9378-D417A72DB8F2}"/>
                </a:ext>
              </a:extLst>
            </p:cNvPr>
            <p:cNvSpPr txBox="1"/>
            <p:nvPr/>
          </p:nvSpPr>
          <p:spPr>
            <a:xfrm flipH="1">
              <a:off x="9499807" y="2138200"/>
              <a:ext cx="1307360" cy="317939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26789" tIns="26789" rIns="26789" bIns="26789" numCol="1" spcCol="38100" rtlCol="0" anchor="ctr">
              <a:spAutoFit/>
            </a:bodyPr>
            <a:lstStyle/>
            <a:p>
              <a:r>
                <a:rPr lang="pt-BR" sz="738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Construir</a:t>
              </a:r>
            </a:p>
          </p:txBody>
        </p:sp>
        <p:pic>
          <p:nvPicPr>
            <p:cNvPr id="189" name="Imagem 188">
              <a:extLst>
                <a:ext uri="{FF2B5EF4-FFF2-40B4-BE49-F238E27FC236}">
                  <a16:creationId xmlns:a16="http://schemas.microsoft.com/office/drawing/2014/main" id="{E6DFDE4C-BE32-4499-959F-DF49ADA46452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email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544337" y="2698491"/>
              <a:ext cx="446781" cy="446781"/>
            </a:xfrm>
            <a:prstGeom prst="rect">
              <a:avLst/>
            </a:prstGeom>
          </p:spPr>
        </p:pic>
        <p:sp>
          <p:nvSpPr>
            <p:cNvPr id="190" name="CaixaDeTexto 189">
              <a:extLst>
                <a:ext uri="{FF2B5EF4-FFF2-40B4-BE49-F238E27FC236}">
                  <a16:creationId xmlns:a16="http://schemas.microsoft.com/office/drawing/2014/main" id="{9F59D160-5879-419F-8B29-360EC3D1C032}"/>
                </a:ext>
              </a:extLst>
            </p:cNvPr>
            <p:cNvSpPr txBox="1"/>
            <p:nvPr/>
          </p:nvSpPr>
          <p:spPr>
            <a:xfrm>
              <a:off x="9991118" y="2674777"/>
              <a:ext cx="776146" cy="564048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26789" tIns="26789" rIns="26789" bIns="26789" numCol="1" spcCol="38100" rtlCol="0" anchor="t">
              <a:spAutoFit/>
            </a:bodyPr>
            <a:lstStyle/>
            <a:p>
              <a:r>
                <a:rPr lang="pt-BR" sz="527" dirty="0" err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Agile</a:t>
              </a:r>
              <a:r>
                <a:rPr lang="pt-BR" sz="527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 Release </a:t>
              </a:r>
              <a:r>
                <a:rPr lang="pt-BR" sz="527" dirty="0" err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Train</a:t>
              </a:r>
              <a:endParaRPr lang="pt-BR" sz="527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191" name="CaixaDeTexto 190">
              <a:extLst>
                <a:ext uri="{FF2B5EF4-FFF2-40B4-BE49-F238E27FC236}">
                  <a16:creationId xmlns:a16="http://schemas.microsoft.com/office/drawing/2014/main" id="{8E7D974B-CE19-4643-9A05-74DDBA735FC0}"/>
                </a:ext>
              </a:extLst>
            </p:cNvPr>
            <p:cNvSpPr txBox="1"/>
            <p:nvPr/>
          </p:nvSpPr>
          <p:spPr>
            <a:xfrm flipH="1">
              <a:off x="10823912" y="2137953"/>
              <a:ext cx="1252193" cy="317939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26789" tIns="26789" rIns="26789" bIns="26789" numCol="1" spcCol="38100" rtlCol="0" anchor="ctr">
              <a:spAutoFit/>
            </a:bodyPr>
            <a:lstStyle/>
            <a:p>
              <a:r>
                <a:rPr lang="pt-BR" sz="738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Medir</a:t>
              </a:r>
            </a:p>
          </p:txBody>
        </p:sp>
        <p:pic>
          <p:nvPicPr>
            <p:cNvPr id="192" name="Imagem 191">
              <a:extLst>
                <a:ext uri="{FF2B5EF4-FFF2-40B4-BE49-F238E27FC236}">
                  <a16:creationId xmlns:a16="http://schemas.microsoft.com/office/drawing/2014/main" id="{C4523D4F-9034-44E5-90E2-767F823518E7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877326" y="2705338"/>
              <a:ext cx="698108" cy="392686"/>
            </a:xfrm>
            <a:prstGeom prst="rect">
              <a:avLst/>
            </a:prstGeom>
          </p:spPr>
        </p:pic>
        <p:sp>
          <p:nvSpPr>
            <p:cNvPr id="193" name="CaixaDeTexto 192">
              <a:extLst>
                <a:ext uri="{FF2B5EF4-FFF2-40B4-BE49-F238E27FC236}">
                  <a16:creationId xmlns:a16="http://schemas.microsoft.com/office/drawing/2014/main" id="{96D2449E-64C7-409E-9E23-E9258A4B1014}"/>
                </a:ext>
              </a:extLst>
            </p:cNvPr>
            <p:cNvSpPr txBox="1"/>
            <p:nvPr/>
          </p:nvSpPr>
          <p:spPr>
            <a:xfrm flipH="1">
              <a:off x="11485696" y="2687431"/>
              <a:ext cx="584564" cy="426037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26789" tIns="26789" rIns="26789" bIns="26789" numCol="1" spcCol="38100" rtlCol="0" anchor="ctr">
              <a:spAutoFit/>
            </a:bodyPr>
            <a:lstStyle/>
            <a:p>
              <a:r>
                <a:rPr lang="pt-BR" sz="554" dirty="0">
                  <a:solidFill>
                    <a:schemeClr val="bg2">
                      <a:lumMod val="50000"/>
                    </a:schemeClr>
                  </a:solidFill>
                </a:rPr>
                <a:t>P&amp;L</a:t>
              </a:r>
            </a:p>
            <a:p>
              <a:r>
                <a:rPr lang="pt-BR" sz="554" dirty="0">
                  <a:solidFill>
                    <a:schemeClr val="bg2">
                      <a:lumMod val="50000"/>
                    </a:schemeClr>
                  </a:solidFill>
                </a:rPr>
                <a:t>BMC</a:t>
              </a:r>
            </a:p>
          </p:txBody>
        </p:sp>
        <p:sp>
          <p:nvSpPr>
            <p:cNvPr id="194" name="Retângulo 193">
              <a:extLst>
                <a:ext uri="{FF2B5EF4-FFF2-40B4-BE49-F238E27FC236}">
                  <a16:creationId xmlns:a16="http://schemas.microsoft.com/office/drawing/2014/main" id="{7FF53459-D0AE-481E-977D-CB2DC11FE86F}"/>
                </a:ext>
              </a:extLst>
            </p:cNvPr>
            <p:cNvSpPr/>
            <p:nvPr/>
          </p:nvSpPr>
          <p:spPr>
            <a:xfrm>
              <a:off x="12092851" y="1944693"/>
              <a:ext cx="752070" cy="715396"/>
            </a:xfrm>
            <a:prstGeom prst="rect">
              <a:avLst/>
            </a:prstGeom>
            <a:solidFill>
              <a:schemeClr val="accent3">
                <a:lumMod val="50000"/>
              </a:schemeClr>
            </a:solidFill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26789" tIns="26789" rIns="26789" bIns="26789" numCol="1" spcCol="38100" rtlCol="0" anchor="ctr">
              <a:noAutofit/>
            </a:bodyPr>
            <a:lstStyle/>
            <a:p>
              <a:r>
                <a:rPr lang="pt-BR" sz="580" dirty="0">
                  <a:solidFill>
                    <a:srgbClr val="FFFFFF"/>
                  </a:solidFill>
                  <a:sym typeface="Helvetica Neue Medium"/>
                </a:rPr>
                <a:t>Encerrar</a:t>
              </a:r>
            </a:p>
          </p:txBody>
        </p:sp>
        <p:grpSp>
          <p:nvGrpSpPr>
            <p:cNvPr id="195" name="Agrupar 194">
              <a:extLst>
                <a:ext uri="{FF2B5EF4-FFF2-40B4-BE49-F238E27FC236}">
                  <a16:creationId xmlns:a16="http://schemas.microsoft.com/office/drawing/2014/main" id="{33976E6E-EA47-4E5F-AC7D-088CFC8DF9F4}"/>
                </a:ext>
              </a:extLst>
            </p:cNvPr>
            <p:cNvGrpSpPr/>
            <p:nvPr/>
          </p:nvGrpSpPr>
          <p:grpSpPr>
            <a:xfrm>
              <a:off x="2486855" y="1934981"/>
              <a:ext cx="9595609" cy="1304054"/>
              <a:chOff x="2486855" y="1492563"/>
              <a:chExt cx="9595609" cy="6174137"/>
            </a:xfrm>
          </p:grpSpPr>
          <p:cxnSp>
            <p:nvCxnSpPr>
              <p:cNvPr id="196" name="Conector reto 195">
                <a:extLst>
                  <a:ext uri="{FF2B5EF4-FFF2-40B4-BE49-F238E27FC236}">
                    <a16:creationId xmlns:a16="http://schemas.microsoft.com/office/drawing/2014/main" id="{F77D8852-DA6A-4EDA-85BC-769CC1476E6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86855" y="1492565"/>
                <a:ext cx="0" cy="6174135"/>
              </a:xfrm>
              <a:prstGeom prst="line">
                <a:avLst/>
              </a:prstGeom>
              <a:noFill/>
              <a:ln w="25400" cap="flat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miter lim="4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</p:cxnSp>
          <p:cxnSp>
            <p:nvCxnSpPr>
              <p:cNvPr id="197" name="Conector reto 196">
                <a:extLst>
                  <a:ext uri="{FF2B5EF4-FFF2-40B4-BE49-F238E27FC236}">
                    <a16:creationId xmlns:a16="http://schemas.microsoft.com/office/drawing/2014/main" id="{E02F002D-7618-4B9C-92AB-6EC8DF08347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915939" y="1492564"/>
                <a:ext cx="0" cy="6174135"/>
              </a:xfrm>
              <a:prstGeom prst="line">
                <a:avLst/>
              </a:prstGeom>
              <a:noFill/>
              <a:ln w="25400" cap="flat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miter lim="4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</p:cxnSp>
          <p:cxnSp>
            <p:nvCxnSpPr>
              <p:cNvPr id="198" name="Conector reto 197">
                <a:extLst>
                  <a:ext uri="{FF2B5EF4-FFF2-40B4-BE49-F238E27FC236}">
                    <a16:creationId xmlns:a16="http://schemas.microsoft.com/office/drawing/2014/main" id="{077A3E1D-3C33-4697-9B96-4F6A6420C67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251317" y="1492564"/>
                <a:ext cx="0" cy="6174135"/>
              </a:xfrm>
              <a:prstGeom prst="line">
                <a:avLst/>
              </a:prstGeom>
              <a:noFill/>
              <a:ln w="25400" cap="flat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miter lim="4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</p:cxnSp>
          <p:cxnSp>
            <p:nvCxnSpPr>
              <p:cNvPr id="199" name="Conector reto 198">
                <a:extLst>
                  <a:ext uri="{FF2B5EF4-FFF2-40B4-BE49-F238E27FC236}">
                    <a16:creationId xmlns:a16="http://schemas.microsoft.com/office/drawing/2014/main" id="{5ACE9889-43D6-4F58-BE96-A8553087607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667524" y="1492563"/>
                <a:ext cx="0" cy="6174135"/>
              </a:xfrm>
              <a:prstGeom prst="line">
                <a:avLst/>
              </a:prstGeom>
              <a:noFill/>
              <a:ln w="25400" cap="flat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miter lim="4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</p:cxnSp>
          <p:cxnSp>
            <p:nvCxnSpPr>
              <p:cNvPr id="200" name="Conector reto 199">
                <a:extLst>
                  <a:ext uri="{FF2B5EF4-FFF2-40B4-BE49-F238E27FC236}">
                    <a16:creationId xmlns:a16="http://schemas.microsoft.com/office/drawing/2014/main" id="{DE5F2F25-53EF-412E-A3A6-52B70EC7FC9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252141" y="1492563"/>
                <a:ext cx="0" cy="6174135"/>
              </a:xfrm>
              <a:prstGeom prst="line">
                <a:avLst/>
              </a:prstGeom>
              <a:noFill/>
              <a:ln w="25400" cap="flat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miter lim="4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</p:cxnSp>
          <p:cxnSp>
            <p:nvCxnSpPr>
              <p:cNvPr id="201" name="Conector reto 200">
                <a:extLst>
                  <a:ext uri="{FF2B5EF4-FFF2-40B4-BE49-F238E27FC236}">
                    <a16:creationId xmlns:a16="http://schemas.microsoft.com/office/drawing/2014/main" id="{542EB5F7-4EF5-49EB-8798-674DD5E522F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9439805" y="1492563"/>
                <a:ext cx="0" cy="6174135"/>
              </a:xfrm>
              <a:prstGeom prst="line">
                <a:avLst/>
              </a:prstGeom>
              <a:noFill/>
              <a:ln w="25400" cap="flat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miter lim="4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</p:cxnSp>
          <p:cxnSp>
            <p:nvCxnSpPr>
              <p:cNvPr id="202" name="Conector reto 201">
                <a:extLst>
                  <a:ext uri="{FF2B5EF4-FFF2-40B4-BE49-F238E27FC236}">
                    <a16:creationId xmlns:a16="http://schemas.microsoft.com/office/drawing/2014/main" id="{C8E08C9A-DB46-434D-8815-363C3A88393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823912" y="1492563"/>
                <a:ext cx="0" cy="6174135"/>
              </a:xfrm>
              <a:prstGeom prst="line">
                <a:avLst/>
              </a:prstGeom>
              <a:noFill/>
              <a:ln w="25400" cap="flat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miter lim="4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</p:cxnSp>
          <p:cxnSp>
            <p:nvCxnSpPr>
              <p:cNvPr id="203" name="Conector reto 202">
                <a:extLst>
                  <a:ext uri="{FF2B5EF4-FFF2-40B4-BE49-F238E27FC236}">
                    <a16:creationId xmlns:a16="http://schemas.microsoft.com/office/drawing/2014/main" id="{E6546E30-1D84-472D-BD01-4C285E78216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2082464" y="1492563"/>
                <a:ext cx="0" cy="6174135"/>
              </a:xfrm>
              <a:prstGeom prst="line">
                <a:avLst/>
              </a:prstGeom>
              <a:noFill/>
              <a:ln w="25400" cap="flat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miter lim="4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</p:cxnSp>
        </p:grpSp>
      </p:grpSp>
      <p:sp>
        <p:nvSpPr>
          <p:cNvPr id="204" name="Elipse 203">
            <a:extLst>
              <a:ext uri="{FF2B5EF4-FFF2-40B4-BE49-F238E27FC236}">
                <a16:creationId xmlns:a16="http://schemas.microsoft.com/office/drawing/2014/main" id="{FDC3189A-BFA8-402A-9EE2-3EA8A0315C54}"/>
              </a:ext>
            </a:extLst>
          </p:cNvPr>
          <p:cNvSpPr/>
          <p:nvPr/>
        </p:nvSpPr>
        <p:spPr>
          <a:xfrm>
            <a:off x="4365733" y="3253345"/>
            <a:ext cx="860189" cy="796529"/>
          </a:xfrm>
          <a:prstGeom prst="ellipse">
            <a:avLst/>
          </a:prstGeom>
          <a:solidFill>
            <a:schemeClr val="bg1">
              <a:lumMod val="5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6789" tIns="26789" rIns="26789" bIns="26789" numCol="1" spcCol="38100" rtlCol="0" anchor="ctr">
            <a:noAutofit/>
          </a:bodyPr>
          <a:lstStyle/>
          <a:p>
            <a:r>
              <a:rPr lang="pt-BR" sz="738" dirty="0">
                <a:solidFill>
                  <a:srgbClr val="FFFFFF"/>
                </a:solidFill>
                <a:sym typeface="Helvetica Neue Medium"/>
              </a:rPr>
              <a:t>Participa sob demanda ou necessidade</a:t>
            </a:r>
          </a:p>
          <a:p>
            <a:endParaRPr lang="pt-BR" sz="738" dirty="0">
              <a:solidFill>
                <a:srgbClr val="FFFFFF"/>
              </a:solidFill>
              <a:sym typeface="Helvetica Neue Medium"/>
            </a:endParaRPr>
          </a:p>
        </p:txBody>
      </p:sp>
      <p:cxnSp>
        <p:nvCxnSpPr>
          <p:cNvPr id="205" name="Conector reto 204">
            <a:extLst>
              <a:ext uri="{FF2B5EF4-FFF2-40B4-BE49-F238E27FC236}">
                <a16:creationId xmlns:a16="http://schemas.microsoft.com/office/drawing/2014/main" id="{7F0B9498-1856-48CF-A129-0F39FE4EE5FF}"/>
              </a:ext>
            </a:extLst>
          </p:cNvPr>
          <p:cNvCxnSpPr>
            <a:cxnSpLocks/>
            <a:stCxn id="204" idx="4"/>
          </p:cNvCxnSpPr>
          <p:nvPr/>
        </p:nvCxnSpPr>
        <p:spPr>
          <a:xfrm>
            <a:off x="4795827" y="4049874"/>
            <a:ext cx="0" cy="274474"/>
          </a:xfrm>
          <a:prstGeom prst="line">
            <a:avLst/>
          </a:prstGeom>
          <a:noFill/>
          <a:ln w="25400" cap="flat">
            <a:solidFill>
              <a:srgbClr val="000000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54" name="CaixaDeTexto 53">
            <a:extLst>
              <a:ext uri="{FF2B5EF4-FFF2-40B4-BE49-F238E27FC236}">
                <a16:creationId xmlns:a16="http://schemas.microsoft.com/office/drawing/2014/main" id="{EDAB43BF-5FE0-4A18-9DA7-CD254D5537E9}"/>
              </a:ext>
            </a:extLst>
          </p:cNvPr>
          <p:cNvSpPr txBox="1"/>
          <p:nvPr/>
        </p:nvSpPr>
        <p:spPr>
          <a:xfrm>
            <a:off x="3088127" y="48019"/>
            <a:ext cx="982485" cy="28140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6789" tIns="26789" rIns="26789" bIns="26789" numCol="1" spcCol="38100" rtlCol="0" anchor="ctr">
            <a:spAutoFit/>
          </a:bodyPr>
          <a:lstStyle/>
          <a:p>
            <a:pPr algn="l"/>
            <a:r>
              <a:rPr lang="pt-BR" sz="1477" dirty="0"/>
              <a:t>Por que</a:t>
            </a:r>
            <a:endParaRPr lang="pt-BR" sz="1477" b="1" dirty="0">
              <a:solidFill>
                <a:srgbClr val="000000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55" name="CaixaDeTexto 54">
            <a:extLst>
              <a:ext uri="{FF2B5EF4-FFF2-40B4-BE49-F238E27FC236}">
                <a16:creationId xmlns:a16="http://schemas.microsoft.com/office/drawing/2014/main" id="{0E050DF6-3CB6-4693-80CD-3C2FD731D281}"/>
              </a:ext>
            </a:extLst>
          </p:cNvPr>
          <p:cNvSpPr txBox="1"/>
          <p:nvPr/>
        </p:nvSpPr>
        <p:spPr>
          <a:xfrm>
            <a:off x="3088127" y="847981"/>
            <a:ext cx="982485" cy="28140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6789" tIns="26789" rIns="26789" bIns="26789" numCol="1" spcCol="38100" rtlCol="0" anchor="ctr">
            <a:spAutoFit/>
          </a:bodyPr>
          <a:lstStyle/>
          <a:p>
            <a:pPr algn="l"/>
            <a:r>
              <a:rPr lang="pt-BR" sz="1477" dirty="0"/>
              <a:t>Quem é</a:t>
            </a:r>
            <a:endParaRPr lang="pt-BR" sz="1477" b="1" dirty="0">
              <a:solidFill>
                <a:srgbClr val="000000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56" name="CaixaDeTexto 55">
            <a:extLst>
              <a:ext uri="{FF2B5EF4-FFF2-40B4-BE49-F238E27FC236}">
                <a16:creationId xmlns:a16="http://schemas.microsoft.com/office/drawing/2014/main" id="{13D42EE3-B35D-4A94-BB9F-D9E994154737}"/>
              </a:ext>
            </a:extLst>
          </p:cNvPr>
          <p:cNvSpPr txBox="1"/>
          <p:nvPr/>
        </p:nvSpPr>
        <p:spPr>
          <a:xfrm>
            <a:off x="3088127" y="1540567"/>
            <a:ext cx="982485" cy="28140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6789" tIns="26789" rIns="26789" bIns="26789" numCol="1" spcCol="38100" rtlCol="0" anchor="ctr">
            <a:spAutoFit/>
          </a:bodyPr>
          <a:lstStyle/>
          <a:p>
            <a:pPr algn="l"/>
            <a:r>
              <a:rPr lang="pt-BR" sz="1477" b="1" dirty="0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O que faz</a:t>
            </a:r>
          </a:p>
        </p:txBody>
      </p:sp>
      <p:sp>
        <p:nvSpPr>
          <p:cNvPr id="57" name="Seta para Cima 56">
            <a:hlinkClick r:id="" action="ppaction://noaction"/>
          </p:cNvPr>
          <p:cNvSpPr/>
          <p:nvPr/>
        </p:nvSpPr>
        <p:spPr>
          <a:xfrm>
            <a:off x="8840121" y="77048"/>
            <a:ext cx="200912" cy="282103"/>
          </a:xfrm>
          <a:prstGeom prst="upArrow">
            <a:avLst/>
          </a:prstGeom>
          <a:solidFill>
            <a:schemeClr val="accent5">
              <a:lumMod val="7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6789" tIns="26789" rIns="26789" bIns="26789" numCol="1" spcCol="38100" rtlCol="0" anchor="ctr">
            <a:spAutoFit/>
          </a:bodyPr>
          <a:lstStyle/>
          <a:p>
            <a:pPr algn="ctr" defTabSz="308063" hangingPunct="0"/>
            <a:endParaRPr lang="pt-BR" sz="1160">
              <a:solidFill>
                <a:srgbClr val="FFFFFF"/>
              </a:solidFill>
              <a:sym typeface="Helvetica Neue Medium"/>
            </a:endParaRPr>
          </a:p>
        </p:txBody>
      </p:sp>
      <p:sp>
        <p:nvSpPr>
          <p:cNvPr id="3" name="Espaço Reservado para Número de Slide 2">
            <a:extLst>
              <a:ext uri="{FF2B5EF4-FFF2-40B4-BE49-F238E27FC236}">
                <a16:creationId xmlns:a16="http://schemas.microsoft.com/office/drawing/2014/main" id="{B231F0F4-AFAA-4CEA-AC59-1E49BFCB560B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>
          <a:xfrm>
            <a:off x="6418261" y="6972300"/>
            <a:ext cx="161904" cy="261610"/>
          </a:xfrm>
          <a:prstGeom prst="rect">
            <a:avLst/>
          </a:prstGeom>
          <a:ln w="12700">
            <a:miter lim="400000"/>
          </a:ln>
        </p:spPr>
        <p:txBody>
          <a:bodyPr wrap="none" lIns="38100" tIns="38100" rIns="38100" bIns="38100">
            <a:spAutoFit/>
          </a:bodyPr>
          <a:lstStyle>
            <a:defPPr marL="0" marR="0" indent="0" algn="l" defTabSz="6858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35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ctr" defTabSz="4381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  <a:lvl2pPr marL="0" marR="0" indent="171450" algn="ctr" defTabSz="4381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1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marL="0" marR="0" indent="342900" algn="ctr" defTabSz="4381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1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marL="0" marR="0" indent="514350" algn="ctr" defTabSz="4381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1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marL="0" marR="0" indent="685800" algn="ctr" defTabSz="4381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1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L="0" marR="0" indent="857250" algn="ctr" defTabSz="4381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1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L="0" marR="0" indent="1028700" algn="ctr" defTabSz="4381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1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L="0" marR="0" indent="1200150" algn="ctr" defTabSz="4381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1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L="0" marR="0" indent="1371600" algn="ctr" defTabSz="4381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1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fld id="{86CB4B4D-7CA3-9044-876B-883B54F8677D}" type="slidenum">
              <a:rPr lang="pt-BR" smtClean="0"/>
              <a:pPr/>
              <a:t>9</a:t>
            </a:fld>
            <a:endParaRPr lang="pt-BR"/>
          </a:p>
        </p:txBody>
      </p:sp>
      <p:pic>
        <p:nvPicPr>
          <p:cNvPr id="58" name="Imagem 57">
            <a:extLst>
              <a:ext uri="{FF2B5EF4-FFF2-40B4-BE49-F238E27FC236}">
                <a16:creationId xmlns:a16="http://schemas.microsoft.com/office/drawing/2014/main" id="{3E39DC30-A99A-4797-8E32-3DBDD57BE8DE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 rot="19717688">
            <a:off x="-289016" y="-79169"/>
            <a:ext cx="2330399" cy="16405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651726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10-Red">
      <a:dk1>
        <a:sysClr val="windowText" lastClr="000000"/>
      </a:dk1>
      <a:lt1>
        <a:sysClr val="window" lastClr="FFFFFF"/>
      </a:lt1>
      <a:dk2>
        <a:srgbClr val="000000"/>
      </a:dk2>
      <a:lt2>
        <a:srgbClr val="E7E6E6"/>
      </a:lt2>
      <a:accent1>
        <a:srgbClr val="4B5050"/>
      </a:accent1>
      <a:accent2>
        <a:srgbClr val="FF461E"/>
      </a:accent2>
      <a:accent3>
        <a:srgbClr val="6E7378"/>
      </a:accent3>
      <a:accent4>
        <a:srgbClr val="91969B"/>
      </a:accent4>
      <a:accent5>
        <a:srgbClr val="AAAFB4"/>
      </a:accent5>
      <a:accent6>
        <a:srgbClr val="DCE1E6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150506_jo_teste">
  <a:themeElements>
    <a:clrScheme name="getnet">
      <a:dk1>
        <a:srgbClr val="1E1E1E"/>
      </a:dk1>
      <a:lt1>
        <a:sysClr val="window" lastClr="FFFFFF"/>
      </a:lt1>
      <a:dk2>
        <a:srgbClr val="3E133E"/>
      </a:dk2>
      <a:lt2>
        <a:srgbClr val="E0DBC8"/>
      </a:lt2>
      <a:accent1>
        <a:srgbClr val="FC0006"/>
      </a:accent1>
      <a:accent2>
        <a:srgbClr val="3E133E"/>
      </a:accent2>
      <a:accent3>
        <a:srgbClr val="D9D3BC"/>
      </a:accent3>
      <a:accent4>
        <a:srgbClr val="FFFFFF"/>
      </a:accent4>
      <a:accent5>
        <a:srgbClr val="FC0006"/>
      </a:accent5>
      <a:accent6>
        <a:srgbClr val="3E133E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3_150506_jo_teste">
  <a:themeElements>
    <a:clrScheme name="getnet">
      <a:dk1>
        <a:srgbClr val="1E1E1E"/>
      </a:dk1>
      <a:lt1>
        <a:sysClr val="window" lastClr="FFFFFF"/>
      </a:lt1>
      <a:dk2>
        <a:srgbClr val="3E133E"/>
      </a:dk2>
      <a:lt2>
        <a:srgbClr val="E0DBC8"/>
      </a:lt2>
      <a:accent1>
        <a:srgbClr val="FC0006"/>
      </a:accent1>
      <a:accent2>
        <a:srgbClr val="3E133E"/>
      </a:accent2>
      <a:accent3>
        <a:srgbClr val="D9D3BC"/>
      </a:accent3>
      <a:accent4>
        <a:srgbClr val="FFFFFF"/>
      </a:accent4>
      <a:accent5>
        <a:srgbClr val="FC0006"/>
      </a:accent5>
      <a:accent6>
        <a:srgbClr val="3E133E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2_Office Theme">
  <a:themeElements>
    <a:clrScheme name="10-Red">
      <a:dk1>
        <a:sysClr val="windowText" lastClr="000000"/>
      </a:dk1>
      <a:lt1>
        <a:sysClr val="window" lastClr="FFFFFF"/>
      </a:lt1>
      <a:dk2>
        <a:srgbClr val="000000"/>
      </a:dk2>
      <a:lt2>
        <a:srgbClr val="E7E6E6"/>
      </a:lt2>
      <a:accent1>
        <a:srgbClr val="4B5050"/>
      </a:accent1>
      <a:accent2>
        <a:srgbClr val="FF461E"/>
      </a:accent2>
      <a:accent3>
        <a:srgbClr val="6E7378"/>
      </a:accent3>
      <a:accent4>
        <a:srgbClr val="91969B"/>
      </a:accent4>
      <a:accent5>
        <a:srgbClr val="AAAFB4"/>
      </a:accent5>
      <a:accent6>
        <a:srgbClr val="DCE1E6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1_Office Theme">
  <a:themeElements>
    <a:clrScheme name="10-Red">
      <a:dk1>
        <a:sysClr val="windowText" lastClr="000000"/>
      </a:dk1>
      <a:lt1>
        <a:sysClr val="window" lastClr="FFFFFF"/>
      </a:lt1>
      <a:dk2>
        <a:srgbClr val="000000"/>
      </a:dk2>
      <a:lt2>
        <a:srgbClr val="E7E6E6"/>
      </a:lt2>
      <a:accent1>
        <a:srgbClr val="4B5050"/>
      </a:accent1>
      <a:accent2>
        <a:srgbClr val="FF461E"/>
      </a:accent2>
      <a:accent3>
        <a:srgbClr val="6E7378"/>
      </a:accent3>
      <a:accent4>
        <a:srgbClr val="91969B"/>
      </a:accent4>
      <a:accent5>
        <a:srgbClr val="AAAFB4"/>
      </a:accent5>
      <a:accent6>
        <a:srgbClr val="DCE1E6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5_Office Theme">
  <a:themeElements>
    <a:clrScheme name="10-Red">
      <a:dk1>
        <a:sysClr val="windowText" lastClr="000000"/>
      </a:dk1>
      <a:lt1>
        <a:sysClr val="window" lastClr="FFFFFF"/>
      </a:lt1>
      <a:dk2>
        <a:srgbClr val="000000"/>
      </a:dk2>
      <a:lt2>
        <a:srgbClr val="E7E6E6"/>
      </a:lt2>
      <a:accent1>
        <a:srgbClr val="4B5050"/>
      </a:accent1>
      <a:accent2>
        <a:srgbClr val="FF461E"/>
      </a:accent2>
      <a:accent3>
        <a:srgbClr val="6E7378"/>
      </a:accent3>
      <a:accent4>
        <a:srgbClr val="91969B"/>
      </a:accent4>
      <a:accent5>
        <a:srgbClr val="AAAFB4"/>
      </a:accent5>
      <a:accent6>
        <a:srgbClr val="DCE1E6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21574</TotalTime>
  <Words>2419</Words>
  <Application>Microsoft Office PowerPoint</Application>
  <PresentationFormat>Apresentação na tela (16:9)</PresentationFormat>
  <Paragraphs>516</Paragraphs>
  <Slides>19</Slides>
  <Notes>4</Notes>
  <HiddenSlides>10</HiddenSlides>
  <MMClips>0</MMClips>
  <ScaleCrop>false</ScaleCrop>
  <HeadingPairs>
    <vt:vector size="8" baseType="variant">
      <vt:variant>
        <vt:lpstr>Fontes usadas</vt:lpstr>
      </vt:variant>
      <vt:variant>
        <vt:i4>11</vt:i4>
      </vt:variant>
      <vt:variant>
        <vt:lpstr>Tema</vt:lpstr>
      </vt:variant>
      <vt:variant>
        <vt:i4>6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19</vt:i4>
      </vt:variant>
    </vt:vector>
  </HeadingPairs>
  <TitlesOfParts>
    <vt:vector size="37" baseType="lpstr">
      <vt:lpstr>Arial</vt:lpstr>
      <vt:lpstr>Calibri</vt:lpstr>
      <vt:lpstr>Calibri Light</vt:lpstr>
      <vt:lpstr>Helvetica Neue</vt:lpstr>
      <vt:lpstr>Helvetica Neue Light</vt:lpstr>
      <vt:lpstr>Helvetica Neue Medium</vt:lpstr>
      <vt:lpstr>Lato</vt:lpstr>
      <vt:lpstr>Lato Black</vt:lpstr>
      <vt:lpstr>Tahoma</vt:lpstr>
      <vt:lpstr>Tw Cen MT Condensed</vt:lpstr>
      <vt:lpstr>Wingdings</vt:lpstr>
      <vt:lpstr>Office Theme</vt:lpstr>
      <vt:lpstr>1_150506_jo_teste</vt:lpstr>
      <vt:lpstr>3_150506_jo_teste</vt:lpstr>
      <vt:lpstr>2_Office Theme</vt:lpstr>
      <vt:lpstr>1_Office Theme</vt:lpstr>
      <vt:lpstr>5_Office Theme</vt:lpstr>
      <vt:lpstr>Slide do think-cell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afar</dc:creator>
  <cp:lastModifiedBy>Leila Caires Klevanskis</cp:lastModifiedBy>
  <cp:revision>2417</cp:revision>
  <dcterms:created xsi:type="dcterms:W3CDTF">2015-05-25T12:45:08Z</dcterms:created>
  <dcterms:modified xsi:type="dcterms:W3CDTF">2020-05-14T15:13:01Z</dcterms:modified>
</cp:coreProperties>
</file>